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7479473" r:id="rId5"/>
  </p:sldIdLst>
  <p:sldSz cx="12192000" cy="6858000"/>
  <p:notesSz cx="6858000" cy="9144000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C97C40D-B385-6B0E-C827-17AFC2D6F836}" name="Adam Soble" initials="AS" userId="S::soblea@mmglobalhealth.org::6a609d71-d1ff-4c5c-a3c4-45e4efd96d21" providerId="AD"/>
  <p188:author id="{F8ABF472-6319-1F41-E074-A3DF2A0CFF87}" name="Stefano Malvolti" initials="SM" userId="S::malvoltis@mmglobalhealth.org::3bc22825-71aa-4e72-96f9-ef5be3b2039a" providerId="AD"/>
  <p188:author id="{66612873-63C1-97B1-E3AF-922C57076FB1}" name="Melissa Ko" initials="MK" userId="S::kom@mmglobalhealth.org::23b20d86-e47e-415f-9bd9-67289a2fbf55" providerId="AD"/>
  <p188:author id="{75E16593-92C9-4137-61F0-1C583C660495}" name="Shawn Gilchrist" initials="SG" userId="S::gilchrists@mmglobalhealth.org::3090a384-7334-4895-97fa-ba79d68132f8" providerId="AD"/>
  <p188:author id="{739938B7-52C8-6BBE-22C1-3B0BA2648F21}" name="Melissa Malhame" initials="MM" userId="S::malhamem@mmglobalhealth.org::44071c89-fb36-493c-ab35-54a93cc0ee93" providerId="AD"/>
  <p188:author id="{6D29E8E2-7A94-39D0-5477-948F343A626E}" name="Giulio Borghi" initials="GB" userId="S::borghig@mmglobalhealth.org::b7d9b10b-7476-4b7c-8a4f-30449d1148a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44CE9"/>
    <a:srgbClr val="9751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813774-E13B-DE4C-A162-64F00C48843E}" v="12" dt="2024-07-15T09:15:26.1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82"/>
    <p:restoredTop sz="94793"/>
  </p:normalViewPr>
  <p:slideViewPr>
    <p:cSldViewPr snapToGrid="0">
      <p:cViewPr varScale="1">
        <p:scale>
          <a:sx n="115" d="100"/>
          <a:sy n="115" d="100"/>
        </p:scale>
        <p:origin x="328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2E5BF3-21D9-41E9-AD42-7A4B8C5C632F}" type="datetimeFigureOut">
              <a:rPr lang="en-US" smtClean="0"/>
              <a:t>10/8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65305F-F8F8-4224-AB99-64742BC22C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267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47F86A-1E35-CB10-3C18-1198A16B19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F6C247-1915-9711-4B68-F2FAEA5BD0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46ADA5-2451-F7DE-88A3-8CF46AEABB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099D2B-EC25-0794-1EEF-B78650254F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755939-70BD-44AA-809B-53229464ED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3110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581A3529-2A23-46CB-BA3E-CDF9C87E595D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-1089948" y="-2299470"/>
            <a:ext cx="5790674" cy="11581348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D5B1FC-0425-4DF3-9957-7AA5F06F8B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00" y="2391156"/>
            <a:ext cx="2789110" cy="207568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20EA69F4-7CC9-4ACE-B1CC-A4503F982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2505670"/>
            <a:ext cx="5143501" cy="1846659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ESENTATION TITLE GOES HERE, EVEN LONG ONE FI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8CCD51-E070-414C-9714-2D58024085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9" y="5029200"/>
            <a:ext cx="5143501" cy="336178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 name</a:t>
            </a:r>
          </a:p>
        </p:txBody>
      </p:sp>
    </p:spTree>
    <p:extLst>
      <p:ext uri="{BB962C8B-B14F-4D97-AF65-F5344CB8AC3E}">
        <p14:creationId xmlns:p14="http://schemas.microsoft.com/office/powerpoint/2010/main" val="912808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four sections 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C2DC4-7E35-413D-8D0C-FA7A97C1D6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TABLE OF CONTENT WITH LONG SECTION NA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D61A4ED-2362-4BF0-A576-E9E9FD91F1F4}"/>
              </a:ext>
            </a:extLst>
          </p:cNvPr>
          <p:cNvSpPr/>
          <p:nvPr/>
        </p:nvSpPr>
        <p:spPr>
          <a:xfrm>
            <a:off x="2740362" y="2137784"/>
            <a:ext cx="1360058" cy="1360058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71F8B6-611E-4BFE-960A-F978FBBB1290}"/>
              </a:ext>
            </a:extLst>
          </p:cNvPr>
          <p:cNvSpPr txBox="1"/>
          <p:nvPr/>
        </p:nvSpPr>
        <p:spPr>
          <a:xfrm>
            <a:off x="2969541" y="2379232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8240B89-1CDC-4DEA-9766-2CA83A26DBBB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2D6813-7E50-4EDB-B058-AD50EAF1BAEC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420391" y="2424621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D93C843-C499-4FD6-B18A-7C588FD571D7}"/>
              </a:ext>
            </a:extLst>
          </p:cNvPr>
          <p:cNvSpPr/>
          <p:nvPr userDrawn="1"/>
        </p:nvSpPr>
        <p:spPr>
          <a:xfrm>
            <a:off x="5418792" y="2137784"/>
            <a:ext cx="1360058" cy="1360058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C292C86-FAA1-48BE-9C09-B6B26C67EBF9}"/>
              </a:ext>
            </a:extLst>
          </p:cNvPr>
          <p:cNvSpPr txBox="1"/>
          <p:nvPr userDrawn="1"/>
        </p:nvSpPr>
        <p:spPr>
          <a:xfrm>
            <a:off x="5647971" y="2379232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F292EEF2-F517-4F07-BA10-7C2054CAF1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8821" y="2424621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AB5ACE5-5FBE-4164-8062-87FEDCC30E62}"/>
              </a:ext>
            </a:extLst>
          </p:cNvPr>
          <p:cNvSpPr/>
          <p:nvPr userDrawn="1"/>
        </p:nvSpPr>
        <p:spPr>
          <a:xfrm>
            <a:off x="8090686" y="2137784"/>
            <a:ext cx="1360058" cy="1360058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ADA7A55-E71F-4AD6-AA49-EF7AFCE26CD2}"/>
              </a:ext>
            </a:extLst>
          </p:cNvPr>
          <p:cNvSpPr txBox="1"/>
          <p:nvPr userDrawn="1"/>
        </p:nvSpPr>
        <p:spPr>
          <a:xfrm>
            <a:off x="8319865" y="2379232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8BF77E6-6201-4A3E-AFD6-B4A7763409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70715" y="2424621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45D585A8-2EC1-4D6D-87EA-91CE5050DA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00156" y="3810559"/>
            <a:ext cx="2249423" cy="1577353"/>
          </a:xfr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679AA723-0B81-4E35-BD0B-E01216E4750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71288" y="3810559"/>
            <a:ext cx="2249423" cy="1577353"/>
          </a:xfr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49" name="Text Placeholder 44">
            <a:extLst>
              <a:ext uri="{FF2B5EF4-FFF2-40B4-BE49-F238E27FC236}">
                <a16:creationId xmlns:a16="http://schemas.microsoft.com/office/drawing/2014/main" id="{8C7EAF04-23BA-46AD-B355-ED2A526567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37943" y="3810559"/>
            <a:ext cx="2249423" cy="1577353"/>
          </a:xfr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CF5698-6668-4ABE-87B4-DFBBC80B1F5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55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C four sections 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C2DC4-7E35-413D-8D0C-FA7A97C1D6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TABLE OF CONTENT WITH LONG SECTION NA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D61A4ED-2362-4BF0-A576-E9E9FD91F1F4}"/>
              </a:ext>
            </a:extLst>
          </p:cNvPr>
          <p:cNvSpPr/>
          <p:nvPr/>
        </p:nvSpPr>
        <p:spPr>
          <a:xfrm>
            <a:off x="1409273" y="2137784"/>
            <a:ext cx="1360058" cy="1360058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71F8B6-611E-4BFE-960A-F978FBBB1290}"/>
              </a:ext>
            </a:extLst>
          </p:cNvPr>
          <p:cNvSpPr txBox="1"/>
          <p:nvPr/>
        </p:nvSpPr>
        <p:spPr>
          <a:xfrm>
            <a:off x="1638452" y="2379232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8240B89-1CDC-4DEA-9766-2CA83A26DBBB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2D6813-7E50-4EDB-B058-AD50EAF1BAEC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089302" y="2424621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D93C843-C499-4FD6-B18A-7C588FD571D7}"/>
              </a:ext>
            </a:extLst>
          </p:cNvPr>
          <p:cNvSpPr/>
          <p:nvPr userDrawn="1"/>
        </p:nvSpPr>
        <p:spPr>
          <a:xfrm>
            <a:off x="4087703" y="2137784"/>
            <a:ext cx="1360058" cy="1360058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C292C86-FAA1-48BE-9C09-B6B26C67EBF9}"/>
              </a:ext>
            </a:extLst>
          </p:cNvPr>
          <p:cNvSpPr txBox="1"/>
          <p:nvPr userDrawn="1"/>
        </p:nvSpPr>
        <p:spPr>
          <a:xfrm>
            <a:off x="4316882" y="2379232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F292EEF2-F517-4F07-BA10-7C2054CAF1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67732" y="2424621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AB5ACE5-5FBE-4164-8062-87FEDCC30E62}"/>
              </a:ext>
            </a:extLst>
          </p:cNvPr>
          <p:cNvSpPr/>
          <p:nvPr userDrawn="1"/>
        </p:nvSpPr>
        <p:spPr>
          <a:xfrm>
            <a:off x="6759597" y="2137784"/>
            <a:ext cx="1360058" cy="1360058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ADA7A55-E71F-4AD6-AA49-EF7AFCE26CD2}"/>
              </a:ext>
            </a:extLst>
          </p:cNvPr>
          <p:cNvSpPr txBox="1"/>
          <p:nvPr userDrawn="1"/>
        </p:nvSpPr>
        <p:spPr>
          <a:xfrm>
            <a:off x="6988776" y="2379232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8BF77E6-6201-4A3E-AFD6-B4A7763409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39626" y="2424621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070245-AD52-447E-9FDB-4A33E443B43B}"/>
              </a:ext>
            </a:extLst>
          </p:cNvPr>
          <p:cNvSpPr/>
          <p:nvPr userDrawn="1"/>
        </p:nvSpPr>
        <p:spPr>
          <a:xfrm>
            <a:off x="9432260" y="2137784"/>
            <a:ext cx="1360058" cy="1360058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1A2ED8E-D564-49E5-970B-80C636DFC078}"/>
              </a:ext>
            </a:extLst>
          </p:cNvPr>
          <p:cNvSpPr txBox="1"/>
          <p:nvPr userDrawn="1"/>
        </p:nvSpPr>
        <p:spPr>
          <a:xfrm>
            <a:off x="9661439" y="2379232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028A0F6-7383-43D2-A97C-6D3D2873EC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112289" y="2424621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45D585A8-2EC1-4D6D-87EA-91CE5050DA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2500" y="3784679"/>
            <a:ext cx="2249423" cy="1577353"/>
          </a:xfr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47" name="Text Placeholder 44">
            <a:extLst>
              <a:ext uri="{FF2B5EF4-FFF2-40B4-BE49-F238E27FC236}">
                <a16:creationId xmlns:a16="http://schemas.microsoft.com/office/drawing/2014/main" id="{A1C757D8-C9FE-487A-8BE8-97015F36A1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65897" y="3784679"/>
            <a:ext cx="2249423" cy="1577353"/>
          </a:xfr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679AA723-0B81-4E35-BD0B-E01216E4750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23632" y="3784679"/>
            <a:ext cx="2249423" cy="1577353"/>
          </a:xfr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49" name="Text Placeholder 44">
            <a:extLst>
              <a:ext uri="{FF2B5EF4-FFF2-40B4-BE49-F238E27FC236}">
                <a16:creationId xmlns:a16="http://schemas.microsoft.com/office/drawing/2014/main" id="{8C7EAF04-23BA-46AD-B355-ED2A526567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94764" y="3784679"/>
            <a:ext cx="2249423" cy="1577353"/>
          </a:xfr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184EA2-7846-4123-838A-FBBDEDA7903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273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five sections 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C2DC4-7E35-413D-8D0C-FA7A97C1D6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TABLE OF CONTENT WITH LONG SECTION NA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D61A4ED-2362-4BF0-A576-E9E9FD91F1F4}"/>
              </a:ext>
            </a:extLst>
          </p:cNvPr>
          <p:cNvSpPr>
            <a:spLocks noChangeAspect="1"/>
          </p:cNvSpPr>
          <p:nvPr/>
        </p:nvSpPr>
        <p:spPr>
          <a:xfrm>
            <a:off x="948831" y="2133600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71F8B6-611E-4BFE-960A-F978FBBB1290}"/>
              </a:ext>
            </a:extLst>
          </p:cNvPr>
          <p:cNvSpPr txBox="1"/>
          <p:nvPr/>
        </p:nvSpPr>
        <p:spPr>
          <a:xfrm>
            <a:off x="1092342" y="2289379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8240B89-1CDC-4DEA-9766-2CA83A26DBBB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2D6813-7E50-4EDB-B058-AD50EAF1BAEC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546137" y="2334768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45D585A8-2EC1-4D6D-87EA-91CE5050DA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67244" y="2133602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81F39E-9C48-494C-B9AD-48615FED781D}"/>
              </a:ext>
            </a:extLst>
          </p:cNvPr>
          <p:cNvCxnSpPr/>
          <p:nvPr userDrawn="1"/>
        </p:nvCxnSpPr>
        <p:spPr>
          <a:xfrm>
            <a:off x="6096000" y="2133600"/>
            <a:ext cx="0" cy="426720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E57BAB47-4B28-4A8B-8BE0-E5E839C5788A}"/>
              </a:ext>
            </a:extLst>
          </p:cNvPr>
          <p:cNvSpPr>
            <a:spLocks noChangeAspect="1"/>
          </p:cNvSpPr>
          <p:nvPr userDrawn="1"/>
        </p:nvSpPr>
        <p:spPr>
          <a:xfrm>
            <a:off x="948831" y="5212079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7FD50B6-28F4-4AB4-9BE8-35660E2624C1}"/>
              </a:ext>
            </a:extLst>
          </p:cNvPr>
          <p:cNvSpPr txBox="1"/>
          <p:nvPr userDrawn="1"/>
        </p:nvSpPr>
        <p:spPr>
          <a:xfrm>
            <a:off x="1092342" y="5367858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96962B9-3393-48CE-90EA-E5B8BBED4E2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46137" y="5413247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2" name="Text Placeholder 44">
            <a:extLst>
              <a:ext uri="{FF2B5EF4-FFF2-40B4-BE49-F238E27FC236}">
                <a16:creationId xmlns:a16="http://schemas.microsoft.com/office/drawing/2014/main" id="{F9AB521F-B5CB-4FCE-8920-983840307A8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67244" y="5212080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4D3EB26D-AF6F-4A24-90BD-920ECF84658E}"/>
              </a:ext>
            </a:extLst>
          </p:cNvPr>
          <p:cNvSpPr>
            <a:spLocks noChangeAspect="1"/>
          </p:cNvSpPr>
          <p:nvPr userDrawn="1"/>
        </p:nvSpPr>
        <p:spPr>
          <a:xfrm>
            <a:off x="948831" y="3672839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D0991AB-C0C1-4822-8231-A94939565196}"/>
              </a:ext>
            </a:extLst>
          </p:cNvPr>
          <p:cNvSpPr txBox="1"/>
          <p:nvPr userDrawn="1"/>
        </p:nvSpPr>
        <p:spPr>
          <a:xfrm>
            <a:off x="1092342" y="3828618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D38D263F-5F59-424E-91DC-0683F5E017C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46137" y="3874007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44">
            <a:extLst>
              <a:ext uri="{FF2B5EF4-FFF2-40B4-BE49-F238E27FC236}">
                <a16:creationId xmlns:a16="http://schemas.microsoft.com/office/drawing/2014/main" id="{C53A4AF7-6838-4DD8-BD9C-0DC97F20944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467244" y="3672840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5351D8F-0D09-47CD-A1D9-3FAF1AB71862}"/>
              </a:ext>
            </a:extLst>
          </p:cNvPr>
          <p:cNvSpPr>
            <a:spLocks noChangeAspect="1"/>
          </p:cNvSpPr>
          <p:nvPr userDrawn="1"/>
        </p:nvSpPr>
        <p:spPr>
          <a:xfrm>
            <a:off x="6323188" y="2133600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9D3AA04-ADCF-47F9-A25B-5BFF1685B16F}"/>
              </a:ext>
            </a:extLst>
          </p:cNvPr>
          <p:cNvSpPr txBox="1"/>
          <p:nvPr userDrawn="1"/>
        </p:nvSpPr>
        <p:spPr>
          <a:xfrm>
            <a:off x="6466699" y="2289379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D1C419B0-C753-4E85-843E-A28B2653731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20494" y="2334768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9" name="Text Placeholder 44">
            <a:extLst>
              <a:ext uri="{FF2B5EF4-FFF2-40B4-BE49-F238E27FC236}">
                <a16:creationId xmlns:a16="http://schemas.microsoft.com/office/drawing/2014/main" id="{FFE32735-A5ED-4278-80A7-7C2B895D26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41601" y="2133601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6585BA1-BC6C-4580-B152-7AC3ACA574ED}"/>
              </a:ext>
            </a:extLst>
          </p:cNvPr>
          <p:cNvSpPr>
            <a:spLocks noChangeAspect="1"/>
          </p:cNvSpPr>
          <p:nvPr userDrawn="1"/>
        </p:nvSpPr>
        <p:spPr>
          <a:xfrm>
            <a:off x="6323188" y="3672839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BC81C5A-E123-4A8C-ABAA-F7716D0A15A7}"/>
              </a:ext>
            </a:extLst>
          </p:cNvPr>
          <p:cNvSpPr txBox="1"/>
          <p:nvPr userDrawn="1"/>
        </p:nvSpPr>
        <p:spPr>
          <a:xfrm>
            <a:off x="6466699" y="3828618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3BD740E3-DABC-4AEA-B94F-912D4A4B25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20494" y="3874007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77" name="Text Placeholder 44">
            <a:extLst>
              <a:ext uri="{FF2B5EF4-FFF2-40B4-BE49-F238E27FC236}">
                <a16:creationId xmlns:a16="http://schemas.microsoft.com/office/drawing/2014/main" id="{0181B6EC-8AFD-417B-BC44-269E9039BCE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41601" y="3672840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C07DBA-0717-4F72-8B57-6DB6F3E72146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88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six sections 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C2DC4-7E35-413D-8D0C-FA7A97C1D6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TABLE OF CONTENT WITH LONG SECTION NA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D61A4ED-2362-4BF0-A576-E9E9FD91F1F4}"/>
              </a:ext>
            </a:extLst>
          </p:cNvPr>
          <p:cNvSpPr>
            <a:spLocks noChangeAspect="1"/>
          </p:cNvSpPr>
          <p:nvPr/>
        </p:nvSpPr>
        <p:spPr>
          <a:xfrm>
            <a:off x="948832" y="2133600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71F8B6-611E-4BFE-960A-F978FBBB1290}"/>
              </a:ext>
            </a:extLst>
          </p:cNvPr>
          <p:cNvSpPr txBox="1"/>
          <p:nvPr/>
        </p:nvSpPr>
        <p:spPr>
          <a:xfrm>
            <a:off x="1092342" y="2289379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8240B89-1CDC-4DEA-9766-2CA83A26DBBB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2D6813-7E50-4EDB-B058-AD50EAF1BAEC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546137" y="2334768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45D585A8-2EC1-4D6D-87EA-91CE5050DA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67244" y="2133602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81F39E-9C48-494C-B9AD-48615FED781D}"/>
              </a:ext>
            </a:extLst>
          </p:cNvPr>
          <p:cNvCxnSpPr/>
          <p:nvPr userDrawn="1"/>
        </p:nvCxnSpPr>
        <p:spPr>
          <a:xfrm>
            <a:off x="6096000" y="2133600"/>
            <a:ext cx="0" cy="426720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E57BAB47-4B28-4A8B-8BE0-E5E839C5788A}"/>
              </a:ext>
            </a:extLst>
          </p:cNvPr>
          <p:cNvSpPr>
            <a:spLocks noChangeAspect="1"/>
          </p:cNvSpPr>
          <p:nvPr userDrawn="1"/>
        </p:nvSpPr>
        <p:spPr>
          <a:xfrm>
            <a:off x="948832" y="5212079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7FD50B6-28F4-4AB4-9BE8-35660E2624C1}"/>
              </a:ext>
            </a:extLst>
          </p:cNvPr>
          <p:cNvSpPr txBox="1"/>
          <p:nvPr userDrawn="1"/>
        </p:nvSpPr>
        <p:spPr>
          <a:xfrm>
            <a:off x="1092342" y="5367858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96962B9-3393-48CE-90EA-E5B8BBED4E2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46137" y="5413247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2" name="Text Placeholder 44">
            <a:extLst>
              <a:ext uri="{FF2B5EF4-FFF2-40B4-BE49-F238E27FC236}">
                <a16:creationId xmlns:a16="http://schemas.microsoft.com/office/drawing/2014/main" id="{F9AB521F-B5CB-4FCE-8920-983840307A8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67244" y="5212080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4D3EB26D-AF6F-4A24-90BD-920ECF84658E}"/>
              </a:ext>
            </a:extLst>
          </p:cNvPr>
          <p:cNvSpPr>
            <a:spLocks noChangeAspect="1"/>
          </p:cNvSpPr>
          <p:nvPr userDrawn="1"/>
        </p:nvSpPr>
        <p:spPr>
          <a:xfrm>
            <a:off x="948832" y="3672839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D0991AB-C0C1-4822-8231-A94939565196}"/>
              </a:ext>
            </a:extLst>
          </p:cNvPr>
          <p:cNvSpPr txBox="1"/>
          <p:nvPr userDrawn="1"/>
        </p:nvSpPr>
        <p:spPr>
          <a:xfrm>
            <a:off x="1092342" y="3828618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D38D263F-5F59-424E-91DC-0683F5E017C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46137" y="3874007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4" name="Text Placeholder 44">
            <a:extLst>
              <a:ext uri="{FF2B5EF4-FFF2-40B4-BE49-F238E27FC236}">
                <a16:creationId xmlns:a16="http://schemas.microsoft.com/office/drawing/2014/main" id="{C53A4AF7-6838-4DD8-BD9C-0DC97F20944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467244" y="3672840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65351D8F-0D09-47CD-A1D9-3FAF1AB71862}"/>
              </a:ext>
            </a:extLst>
          </p:cNvPr>
          <p:cNvSpPr>
            <a:spLocks noChangeAspect="1"/>
          </p:cNvSpPr>
          <p:nvPr userDrawn="1"/>
        </p:nvSpPr>
        <p:spPr>
          <a:xfrm>
            <a:off x="6323189" y="2133600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9D3AA04-ADCF-47F9-A25B-5BFF1685B16F}"/>
              </a:ext>
            </a:extLst>
          </p:cNvPr>
          <p:cNvSpPr txBox="1"/>
          <p:nvPr userDrawn="1"/>
        </p:nvSpPr>
        <p:spPr>
          <a:xfrm>
            <a:off x="6466699" y="2289379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D1C419B0-C753-4E85-843E-A28B2653731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20494" y="2334768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9" name="Text Placeholder 44">
            <a:extLst>
              <a:ext uri="{FF2B5EF4-FFF2-40B4-BE49-F238E27FC236}">
                <a16:creationId xmlns:a16="http://schemas.microsoft.com/office/drawing/2014/main" id="{FFE32735-A5ED-4278-80A7-7C2B895D26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41601" y="2133601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A45B9BE-720A-4669-AAC4-C05EF5BC46A4}"/>
              </a:ext>
            </a:extLst>
          </p:cNvPr>
          <p:cNvSpPr>
            <a:spLocks noChangeAspect="1"/>
          </p:cNvSpPr>
          <p:nvPr userDrawn="1"/>
        </p:nvSpPr>
        <p:spPr>
          <a:xfrm>
            <a:off x="6323189" y="5212079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0710DAC-5FB8-4E8F-9918-EE44505671CB}"/>
              </a:ext>
            </a:extLst>
          </p:cNvPr>
          <p:cNvSpPr txBox="1"/>
          <p:nvPr userDrawn="1"/>
        </p:nvSpPr>
        <p:spPr>
          <a:xfrm>
            <a:off x="6466699" y="5367858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9EA70199-0A39-4943-A2AF-E27617E985F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20494" y="5413247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73" name="Text Placeholder 44">
            <a:extLst>
              <a:ext uri="{FF2B5EF4-FFF2-40B4-BE49-F238E27FC236}">
                <a16:creationId xmlns:a16="http://schemas.microsoft.com/office/drawing/2014/main" id="{57FB71C5-50D6-4BD7-8B90-35BEDDC247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41601" y="5212079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6585BA1-BC6C-4580-B152-7AC3ACA574ED}"/>
              </a:ext>
            </a:extLst>
          </p:cNvPr>
          <p:cNvSpPr>
            <a:spLocks noChangeAspect="1"/>
          </p:cNvSpPr>
          <p:nvPr userDrawn="1"/>
        </p:nvSpPr>
        <p:spPr>
          <a:xfrm>
            <a:off x="6323189" y="3672839"/>
            <a:ext cx="1188720" cy="118872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BC81C5A-E123-4A8C-ABAA-F7716D0A15A7}"/>
              </a:ext>
            </a:extLst>
          </p:cNvPr>
          <p:cNvSpPr txBox="1"/>
          <p:nvPr userDrawn="1"/>
        </p:nvSpPr>
        <p:spPr>
          <a:xfrm>
            <a:off x="6466699" y="3828618"/>
            <a:ext cx="45085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3BD740E3-DABC-4AEA-B94F-912D4A4B25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20494" y="3874007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77" name="Text Placeholder 44">
            <a:extLst>
              <a:ext uri="{FF2B5EF4-FFF2-40B4-BE49-F238E27FC236}">
                <a16:creationId xmlns:a16="http://schemas.microsoft.com/office/drawing/2014/main" id="{0181B6EC-8AFD-417B-BC44-269E9039BCE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41601" y="3672840"/>
            <a:ext cx="3401568" cy="1188720"/>
          </a:xfrm>
        </p:spPr>
        <p:txBody>
          <a:bodyPr anchor="ctr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C07DBA-0717-4F72-8B57-6DB6F3E72146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8795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ong title star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CBFC92C7-43A8-4D61-8068-7BD212636402}"/>
              </a:ext>
            </a:extLst>
          </p:cNvPr>
          <p:cNvSpPr/>
          <p:nvPr/>
        </p:nvSpPr>
        <p:spPr>
          <a:xfrm>
            <a:off x="996134" y="2569464"/>
            <a:ext cx="1719072" cy="1719072"/>
          </a:xfrm>
          <a:prstGeom prst="ellipse">
            <a:avLst/>
          </a:prstGeom>
          <a:solidFill>
            <a:schemeClr val="bg2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41103B-8C9E-4AAC-8136-863DEFEC2C4B}"/>
              </a:ext>
            </a:extLst>
          </p:cNvPr>
          <p:cNvSpPr txBox="1"/>
          <p:nvPr/>
        </p:nvSpPr>
        <p:spPr>
          <a:xfrm>
            <a:off x="1221143" y="2828836"/>
            <a:ext cx="634527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7200" b="1">
                <a:solidFill>
                  <a:schemeClr val="accent1"/>
                </a:solidFill>
              </a:rPr>
              <a:t>0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69AC81C-9992-4F15-812E-19EF9BA71081}"/>
              </a:ext>
            </a:extLst>
          </p:cNvPr>
          <p:cNvCxnSpPr>
            <a:cxnSpLocks/>
            <a:stCxn id="5" idx="4"/>
          </p:cNvCxnSpPr>
          <p:nvPr/>
        </p:nvCxnSpPr>
        <p:spPr>
          <a:xfrm>
            <a:off x="1855670" y="4288536"/>
            <a:ext cx="0" cy="2569464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4364BEA-D177-4D0C-8BC5-41304F4CB0B3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855670" y="3035808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7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2499974-DF3E-4608-A7C3-5D38634809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95254" y="2782094"/>
            <a:ext cx="5532777" cy="1293813"/>
          </a:xfrm>
        </p:spPr>
        <p:txBody>
          <a:bodyPr anchor="ctr"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31322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ong title midd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CBFC92C7-43A8-4D61-8068-7BD212636402}"/>
              </a:ext>
            </a:extLst>
          </p:cNvPr>
          <p:cNvSpPr/>
          <p:nvPr userDrawn="1"/>
        </p:nvSpPr>
        <p:spPr>
          <a:xfrm>
            <a:off x="996134" y="2569464"/>
            <a:ext cx="1719072" cy="1719072"/>
          </a:xfrm>
          <a:prstGeom prst="ellipse">
            <a:avLst/>
          </a:prstGeom>
          <a:solidFill>
            <a:schemeClr val="bg2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41103B-8C9E-4AAC-8136-863DEFEC2C4B}"/>
              </a:ext>
            </a:extLst>
          </p:cNvPr>
          <p:cNvSpPr txBox="1"/>
          <p:nvPr/>
        </p:nvSpPr>
        <p:spPr>
          <a:xfrm>
            <a:off x="1221143" y="2828836"/>
            <a:ext cx="634527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7200" b="1">
                <a:solidFill>
                  <a:schemeClr val="accent1"/>
                </a:solidFill>
              </a:rPr>
              <a:t>0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69AC81C-9992-4F15-812E-19EF9BA71081}"/>
              </a:ext>
            </a:extLst>
          </p:cNvPr>
          <p:cNvCxnSpPr>
            <a:cxnSpLocks/>
            <a:stCxn id="5" idx="4"/>
          </p:cNvCxnSpPr>
          <p:nvPr/>
        </p:nvCxnSpPr>
        <p:spPr>
          <a:xfrm>
            <a:off x="1855670" y="4288536"/>
            <a:ext cx="0" cy="2569464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4364BEA-D177-4D0C-8BC5-41304F4CB0B3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855670" y="3035808"/>
            <a:ext cx="450850" cy="786384"/>
          </a:xfrm>
        </p:spPr>
        <p:txBody>
          <a:bodyPr anchor="ctr"/>
          <a:lstStyle>
            <a:lvl1pPr>
              <a:lnSpc>
                <a:spcPct val="100000"/>
              </a:lnSpc>
              <a:defRPr sz="7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2499974-DF3E-4608-A7C3-5D38634809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95254" y="2782094"/>
            <a:ext cx="5532777" cy="1293813"/>
          </a:xfrm>
        </p:spPr>
        <p:txBody>
          <a:bodyPr anchor="ctr"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USE THIS VERSION WHEN HAVING EXTREMELY LONG SECTION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1462F07-1579-4D5A-8FEF-88FBFE6B96DE}"/>
              </a:ext>
            </a:extLst>
          </p:cNvPr>
          <p:cNvCxnSpPr>
            <a:cxnSpLocks/>
          </p:cNvCxnSpPr>
          <p:nvPr userDrawn="1"/>
        </p:nvCxnSpPr>
        <p:spPr>
          <a:xfrm>
            <a:off x="1855670" y="19740"/>
            <a:ext cx="0" cy="2569464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1804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ong title e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B4965BE2-46B9-4B33-9042-13AEB39816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2500" y="2528316"/>
            <a:ext cx="2421576" cy="1801368"/>
            <a:chOff x="3770" y="1616"/>
            <a:chExt cx="1757" cy="1307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40FB85C0-A298-4BAD-A5D1-79197607242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770" y="1616"/>
              <a:ext cx="1757" cy="1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4B2A789-8131-49A2-8008-89244AD931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0" y="1616"/>
              <a:ext cx="651" cy="1307"/>
            </a:xfrm>
            <a:custGeom>
              <a:avLst/>
              <a:gdLst>
                <a:gd name="T0" fmla="*/ 156 w 165"/>
                <a:gd name="T1" fmla="*/ 232 h 331"/>
                <a:gd name="T2" fmla="*/ 145 w 165"/>
                <a:gd name="T3" fmla="*/ 243 h 331"/>
                <a:gd name="T4" fmla="*/ 140 w 165"/>
                <a:gd name="T5" fmla="*/ 243 h 331"/>
                <a:gd name="T6" fmla="*/ 129 w 165"/>
                <a:gd name="T7" fmla="*/ 232 h 331"/>
                <a:gd name="T8" fmla="*/ 129 w 165"/>
                <a:gd name="T9" fmla="*/ 88 h 331"/>
                <a:gd name="T10" fmla="*/ 145 w 165"/>
                <a:gd name="T11" fmla="*/ 88 h 331"/>
                <a:gd name="T12" fmla="*/ 156 w 165"/>
                <a:gd name="T13" fmla="*/ 99 h 331"/>
                <a:gd name="T14" fmla="*/ 156 w 165"/>
                <a:gd name="T15" fmla="*/ 232 h 331"/>
                <a:gd name="T16" fmla="*/ 113 w 165"/>
                <a:gd name="T17" fmla="*/ 232 h 331"/>
                <a:gd name="T18" fmla="*/ 102 w 165"/>
                <a:gd name="T19" fmla="*/ 243 h 331"/>
                <a:gd name="T20" fmla="*/ 96 w 165"/>
                <a:gd name="T21" fmla="*/ 243 h 331"/>
                <a:gd name="T22" fmla="*/ 85 w 165"/>
                <a:gd name="T23" fmla="*/ 232 h 331"/>
                <a:gd name="T24" fmla="*/ 85 w 165"/>
                <a:gd name="T25" fmla="*/ 88 h 331"/>
                <a:gd name="T26" fmla="*/ 102 w 165"/>
                <a:gd name="T27" fmla="*/ 88 h 331"/>
                <a:gd name="T28" fmla="*/ 113 w 165"/>
                <a:gd name="T29" fmla="*/ 99 h 331"/>
                <a:gd name="T30" fmla="*/ 113 w 165"/>
                <a:gd name="T31" fmla="*/ 232 h 331"/>
                <a:gd name="T32" fmla="*/ 69 w 165"/>
                <a:gd name="T33" fmla="*/ 232 h 331"/>
                <a:gd name="T34" fmla="*/ 58 w 165"/>
                <a:gd name="T35" fmla="*/ 243 h 331"/>
                <a:gd name="T36" fmla="*/ 53 w 165"/>
                <a:gd name="T37" fmla="*/ 243 h 331"/>
                <a:gd name="T38" fmla="*/ 42 w 165"/>
                <a:gd name="T39" fmla="*/ 232 h 331"/>
                <a:gd name="T40" fmla="*/ 42 w 165"/>
                <a:gd name="T41" fmla="*/ 88 h 331"/>
                <a:gd name="T42" fmla="*/ 58 w 165"/>
                <a:gd name="T43" fmla="*/ 88 h 331"/>
                <a:gd name="T44" fmla="*/ 69 w 165"/>
                <a:gd name="T45" fmla="*/ 99 h 331"/>
                <a:gd name="T46" fmla="*/ 69 w 165"/>
                <a:gd name="T47" fmla="*/ 232 h 331"/>
                <a:gd name="T48" fmla="*/ 165 w 165"/>
                <a:gd name="T49" fmla="*/ 331 h 331"/>
                <a:gd name="T50" fmla="*/ 165 w 165"/>
                <a:gd name="T51" fmla="*/ 0 h 331"/>
                <a:gd name="T52" fmla="*/ 0 w 165"/>
                <a:gd name="T53" fmla="*/ 166 h 331"/>
                <a:gd name="T54" fmla="*/ 165 w 165"/>
                <a:gd name="T55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5" h="331">
                  <a:moveTo>
                    <a:pt x="156" y="232"/>
                  </a:moveTo>
                  <a:cubicBezTo>
                    <a:pt x="156" y="243"/>
                    <a:pt x="145" y="243"/>
                    <a:pt x="145" y="243"/>
                  </a:cubicBezTo>
                  <a:cubicBezTo>
                    <a:pt x="140" y="243"/>
                    <a:pt x="140" y="243"/>
                    <a:pt x="140" y="243"/>
                  </a:cubicBezTo>
                  <a:cubicBezTo>
                    <a:pt x="129" y="243"/>
                    <a:pt x="129" y="232"/>
                    <a:pt x="129" y="232"/>
                  </a:cubicBezTo>
                  <a:cubicBezTo>
                    <a:pt x="129" y="88"/>
                    <a:pt x="129" y="88"/>
                    <a:pt x="129" y="88"/>
                  </a:cubicBezTo>
                  <a:cubicBezTo>
                    <a:pt x="145" y="88"/>
                    <a:pt x="145" y="88"/>
                    <a:pt x="145" y="88"/>
                  </a:cubicBezTo>
                  <a:cubicBezTo>
                    <a:pt x="156" y="88"/>
                    <a:pt x="156" y="99"/>
                    <a:pt x="156" y="99"/>
                  </a:cubicBezTo>
                  <a:lnTo>
                    <a:pt x="156" y="232"/>
                  </a:lnTo>
                  <a:close/>
                  <a:moveTo>
                    <a:pt x="113" y="232"/>
                  </a:moveTo>
                  <a:cubicBezTo>
                    <a:pt x="113" y="243"/>
                    <a:pt x="102" y="243"/>
                    <a:pt x="102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85" y="243"/>
                    <a:pt x="85" y="232"/>
                    <a:pt x="85" y="232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102" y="88"/>
                    <a:pt x="102" y="88"/>
                    <a:pt x="102" y="88"/>
                  </a:cubicBezTo>
                  <a:cubicBezTo>
                    <a:pt x="113" y="88"/>
                    <a:pt x="113" y="99"/>
                    <a:pt x="113" y="99"/>
                  </a:cubicBezTo>
                  <a:lnTo>
                    <a:pt x="113" y="232"/>
                  </a:lnTo>
                  <a:close/>
                  <a:moveTo>
                    <a:pt x="69" y="232"/>
                  </a:moveTo>
                  <a:cubicBezTo>
                    <a:pt x="69" y="243"/>
                    <a:pt x="58" y="243"/>
                    <a:pt x="58" y="243"/>
                  </a:cubicBezTo>
                  <a:cubicBezTo>
                    <a:pt x="53" y="243"/>
                    <a:pt x="53" y="243"/>
                    <a:pt x="53" y="243"/>
                  </a:cubicBezTo>
                  <a:cubicBezTo>
                    <a:pt x="42" y="243"/>
                    <a:pt x="42" y="232"/>
                    <a:pt x="42" y="232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69" y="88"/>
                    <a:pt x="69" y="99"/>
                    <a:pt x="69" y="99"/>
                  </a:cubicBezTo>
                  <a:lnTo>
                    <a:pt x="69" y="232"/>
                  </a:lnTo>
                  <a:close/>
                  <a:moveTo>
                    <a:pt x="165" y="331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74" y="0"/>
                    <a:pt x="0" y="74"/>
                    <a:pt x="0" y="166"/>
                  </a:cubicBezTo>
                  <a:cubicBezTo>
                    <a:pt x="0" y="257"/>
                    <a:pt x="74" y="331"/>
                    <a:pt x="165" y="33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00FEC83-2102-4026-ACC1-62E3D247EA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" y="1963"/>
              <a:ext cx="106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47D89E9-B938-4968-80B0-60A612197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5" y="1963"/>
              <a:ext cx="110" cy="612"/>
            </a:xfrm>
            <a:custGeom>
              <a:avLst/>
              <a:gdLst>
                <a:gd name="T0" fmla="*/ 0 w 28"/>
                <a:gd name="T1" fmla="*/ 0 h 155"/>
                <a:gd name="T2" fmla="*/ 0 w 28"/>
                <a:gd name="T3" fmla="*/ 144 h 155"/>
                <a:gd name="T4" fmla="*/ 11 w 28"/>
                <a:gd name="T5" fmla="*/ 155 h 155"/>
                <a:gd name="T6" fmla="*/ 17 w 28"/>
                <a:gd name="T7" fmla="*/ 155 h 155"/>
                <a:gd name="T8" fmla="*/ 28 w 28"/>
                <a:gd name="T9" fmla="*/ 144 h 155"/>
                <a:gd name="T10" fmla="*/ 28 w 28"/>
                <a:gd name="T11" fmla="*/ 11 h 155"/>
                <a:gd name="T12" fmla="*/ 17 w 28"/>
                <a:gd name="T13" fmla="*/ 0 h 155"/>
                <a:gd name="T14" fmla="*/ 0 w 28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155"/>
                    <a:pt x="28" y="155"/>
                    <a:pt x="28" y="144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0"/>
                    <a:pt x="1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E3ABF98-0B4D-497A-9FCE-CC29E9025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08" y="1963"/>
              <a:ext cx="107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887A959A-F825-4F91-A1ED-C4CE356F64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658"/>
              <a:ext cx="1066" cy="111"/>
            </a:xfrm>
            <a:custGeom>
              <a:avLst/>
              <a:gdLst>
                <a:gd name="T0" fmla="*/ 270 w 270"/>
                <a:gd name="T1" fmla="*/ 26 h 28"/>
                <a:gd name="T2" fmla="*/ 265 w 270"/>
                <a:gd name="T3" fmla="*/ 11 h 28"/>
                <a:gd name="T4" fmla="*/ 254 w 270"/>
                <a:gd name="T5" fmla="*/ 3 h 28"/>
                <a:gd name="T6" fmla="*/ 259 w 270"/>
                <a:gd name="T7" fmla="*/ 15 h 28"/>
                <a:gd name="T8" fmla="*/ 233 w 270"/>
                <a:gd name="T9" fmla="*/ 5 h 28"/>
                <a:gd name="T10" fmla="*/ 242 w 270"/>
                <a:gd name="T11" fmla="*/ 26 h 28"/>
                <a:gd name="T12" fmla="*/ 246 w 270"/>
                <a:gd name="T13" fmla="*/ 1 h 28"/>
                <a:gd name="T14" fmla="*/ 219 w 270"/>
                <a:gd name="T15" fmla="*/ 0 h 28"/>
                <a:gd name="T16" fmla="*/ 229 w 270"/>
                <a:gd name="T17" fmla="*/ 28 h 28"/>
                <a:gd name="T18" fmla="*/ 199 w 270"/>
                <a:gd name="T19" fmla="*/ 17 h 28"/>
                <a:gd name="T20" fmla="*/ 199 w 270"/>
                <a:gd name="T21" fmla="*/ 17 h 28"/>
                <a:gd name="T22" fmla="*/ 211 w 270"/>
                <a:gd name="T23" fmla="*/ 26 h 28"/>
                <a:gd name="T24" fmla="*/ 197 w 270"/>
                <a:gd name="T25" fmla="*/ 4 h 28"/>
                <a:gd name="T26" fmla="*/ 197 w 270"/>
                <a:gd name="T27" fmla="*/ 26 h 28"/>
                <a:gd name="T28" fmla="*/ 183 w 270"/>
                <a:gd name="T29" fmla="*/ 16 h 28"/>
                <a:gd name="T30" fmla="*/ 176 w 270"/>
                <a:gd name="T31" fmla="*/ 5 h 28"/>
                <a:gd name="T32" fmla="*/ 174 w 270"/>
                <a:gd name="T33" fmla="*/ 1 h 28"/>
                <a:gd name="T34" fmla="*/ 184 w 270"/>
                <a:gd name="T35" fmla="*/ 28 h 28"/>
                <a:gd name="T36" fmla="*/ 176 w 270"/>
                <a:gd name="T37" fmla="*/ 16 h 28"/>
                <a:gd name="T38" fmla="*/ 163 w 270"/>
                <a:gd name="T39" fmla="*/ 26 h 28"/>
                <a:gd name="T40" fmla="*/ 158 w 270"/>
                <a:gd name="T41" fmla="*/ 11 h 28"/>
                <a:gd name="T42" fmla="*/ 147 w 270"/>
                <a:gd name="T43" fmla="*/ 3 h 28"/>
                <a:gd name="T44" fmla="*/ 152 w 270"/>
                <a:gd name="T45" fmla="*/ 15 h 28"/>
                <a:gd name="T46" fmla="*/ 115 w 270"/>
                <a:gd name="T47" fmla="*/ 0 h 28"/>
                <a:gd name="T48" fmla="*/ 125 w 270"/>
                <a:gd name="T49" fmla="*/ 28 h 28"/>
                <a:gd name="T50" fmla="*/ 94 w 270"/>
                <a:gd name="T51" fmla="*/ 17 h 28"/>
                <a:gd name="T52" fmla="*/ 94 w 270"/>
                <a:gd name="T53" fmla="*/ 17 h 28"/>
                <a:gd name="T54" fmla="*/ 106 w 270"/>
                <a:gd name="T55" fmla="*/ 26 h 28"/>
                <a:gd name="T56" fmla="*/ 93 w 270"/>
                <a:gd name="T57" fmla="*/ 4 h 28"/>
                <a:gd name="T58" fmla="*/ 93 w 270"/>
                <a:gd name="T59" fmla="*/ 26 h 28"/>
                <a:gd name="T60" fmla="*/ 74 w 270"/>
                <a:gd name="T61" fmla="*/ 4 h 28"/>
                <a:gd name="T62" fmla="*/ 71 w 270"/>
                <a:gd name="T63" fmla="*/ 4 h 28"/>
                <a:gd name="T64" fmla="*/ 74 w 270"/>
                <a:gd name="T65" fmla="*/ 24 h 28"/>
                <a:gd name="T66" fmla="*/ 69 w 270"/>
                <a:gd name="T67" fmla="*/ 28 h 28"/>
                <a:gd name="T68" fmla="*/ 81 w 270"/>
                <a:gd name="T69" fmla="*/ 8 h 28"/>
                <a:gd name="T70" fmla="*/ 66 w 270"/>
                <a:gd name="T71" fmla="*/ 25 h 28"/>
                <a:gd name="T72" fmla="*/ 54 w 270"/>
                <a:gd name="T73" fmla="*/ 17 h 28"/>
                <a:gd name="T74" fmla="*/ 42 w 270"/>
                <a:gd name="T75" fmla="*/ 17 h 28"/>
                <a:gd name="T76" fmla="*/ 51 w 270"/>
                <a:gd name="T77" fmla="*/ 0 h 28"/>
                <a:gd name="T78" fmla="*/ 28 w 270"/>
                <a:gd name="T79" fmla="*/ 3 h 28"/>
                <a:gd name="T80" fmla="*/ 26 w 270"/>
                <a:gd name="T81" fmla="*/ 28 h 28"/>
                <a:gd name="T82" fmla="*/ 28 w 270"/>
                <a:gd name="T83" fmla="*/ 23 h 28"/>
                <a:gd name="T84" fmla="*/ 7 w 270"/>
                <a:gd name="T85" fmla="*/ 15 h 28"/>
                <a:gd name="T86" fmla="*/ 8 w 270"/>
                <a:gd name="T87" fmla="*/ 24 h 28"/>
                <a:gd name="T88" fmla="*/ 11 w 270"/>
                <a:gd name="T89" fmla="*/ 6 h 28"/>
                <a:gd name="T90" fmla="*/ 0 w 270"/>
                <a:gd name="T91" fmla="*/ 12 h 28"/>
                <a:gd name="T92" fmla="*/ 12 w 270"/>
                <a:gd name="T93" fmla="*/ 25 h 28"/>
                <a:gd name="T94" fmla="*/ 16 w 270"/>
                <a:gd name="T95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0" h="28">
                  <a:moveTo>
                    <a:pt x="265" y="15"/>
                  </a:moveTo>
                  <a:cubicBezTo>
                    <a:pt x="265" y="26"/>
                    <a:pt x="265" y="26"/>
                    <a:pt x="265" y="26"/>
                  </a:cubicBezTo>
                  <a:cubicBezTo>
                    <a:pt x="265" y="27"/>
                    <a:pt x="267" y="28"/>
                    <a:pt x="268" y="28"/>
                  </a:cubicBezTo>
                  <a:cubicBezTo>
                    <a:pt x="269" y="28"/>
                    <a:pt x="270" y="27"/>
                    <a:pt x="270" y="26"/>
                  </a:cubicBezTo>
                  <a:cubicBezTo>
                    <a:pt x="270" y="3"/>
                    <a:pt x="270" y="3"/>
                    <a:pt x="270" y="3"/>
                  </a:cubicBezTo>
                  <a:cubicBezTo>
                    <a:pt x="270" y="1"/>
                    <a:pt x="269" y="0"/>
                    <a:pt x="268" y="0"/>
                  </a:cubicBezTo>
                  <a:cubicBezTo>
                    <a:pt x="267" y="0"/>
                    <a:pt x="265" y="1"/>
                    <a:pt x="265" y="3"/>
                  </a:cubicBezTo>
                  <a:cubicBezTo>
                    <a:pt x="265" y="11"/>
                    <a:pt x="265" y="11"/>
                    <a:pt x="265" y="11"/>
                  </a:cubicBezTo>
                  <a:cubicBezTo>
                    <a:pt x="259" y="11"/>
                    <a:pt x="259" y="11"/>
                    <a:pt x="259" y="11"/>
                  </a:cubicBezTo>
                  <a:cubicBezTo>
                    <a:pt x="259" y="3"/>
                    <a:pt x="259" y="3"/>
                    <a:pt x="259" y="3"/>
                  </a:cubicBezTo>
                  <a:cubicBezTo>
                    <a:pt x="259" y="1"/>
                    <a:pt x="258" y="0"/>
                    <a:pt x="256" y="0"/>
                  </a:cubicBezTo>
                  <a:cubicBezTo>
                    <a:pt x="255" y="0"/>
                    <a:pt x="254" y="1"/>
                    <a:pt x="254" y="3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54" y="27"/>
                    <a:pt x="255" y="28"/>
                    <a:pt x="256" y="28"/>
                  </a:cubicBezTo>
                  <a:cubicBezTo>
                    <a:pt x="258" y="28"/>
                    <a:pt x="259" y="27"/>
                    <a:pt x="259" y="26"/>
                  </a:cubicBezTo>
                  <a:cubicBezTo>
                    <a:pt x="259" y="15"/>
                    <a:pt x="259" y="15"/>
                    <a:pt x="259" y="15"/>
                  </a:cubicBezTo>
                  <a:lnTo>
                    <a:pt x="265" y="15"/>
                  </a:lnTo>
                  <a:close/>
                  <a:moveTo>
                    <a:pt x="233" y="1"/>
                  </a:moveTo>
                  <a:cubicBezTo>
                    <a:pt x="231" y="1"/>
                    <a:pt x="231" y="2"/>
                    <a:pt x="231" y="3"/>
                  </a:cubicBezTo>
                  <a:cubicBezTo>
                    <a:pt x="231" y="4"/>
                    <a:pt x="231" y="5"/>
                    <a:pt x="233" y="5"/>
                  </a:cubicBezTo>
                  <a:cubicBezTo>
                    <a:pt x="237" y="5"/>
                    <a:pt x="237" y="5"/>
                    <a:pt x="237" y="5"/>
                  </a:cubicBezTo>
                  <a:cubicBezTo>
                    <a:pt x="237" y="26"/>
                    <a:pt x="237" y="26"/>
                    <a:pt x="237" y="26"/>
                  </a:cubicBezTo>
                  <a:cubicBezTo>
                    <a:pt x="237" y="27"/>
                    <a:pt x="238" y="28"/>
                    <a:pt x="240" y="28"/>
                  </a:cubicBezTo>
                  <a:cubicBezTo>
                    <a:pt x="241" y="28"/>
                    <a:pt x="242" y="27"/>
                    <a:pt x="242" y="26"/>
                  </a:cubicBezTo>
                  <a:cubicBezTo>
                    <a:pt x="242" y="5"/>
                    <a:pt x="242" y="5"/>
                    <a:pt x="242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8" y="5"/>
                    <a:pt x="249" y="4"/>
                    <a:pt x="249" y="3"/>
                  </a:cubicBezTo>
                  <a:cubicBezTo>
                    <a:pt x="249" y="2"/>
                    <a:pt x="248" y="1"/>
                    <a:pt x="246" y="1"/>
                  </a:cubicBezTo>
                  <a:lnTo>
                    <a:pt x="233" y="1"/>
                  </a:lnTo>
                  <a:close/>
                  <a:moveTo>
                    <a:pt x="222" y="23"/>
                  </a:moveTo>
                  <a:cubicBezTo>
                    <a:pt x="222" y="3"/>
                    <a:pt x="222" y="3"/>
                    <a:pt x="222" y="3"/>
                  </a:cubicBezTo>
                  <a:cubicBezTo>
                    <a:pt x="222" y="1"/>
                    <a:pt x="221" y="0"/>
                    <a:pt x="219" y="0"/>
                  </a:cubicBezTo>
                  <a:cubicBezTo>
                    <a:pt x="218" y="0"/>
                    <a:pt x="217" y="1"/>
                    <a:pt x="217" y="3"/>
                  </a:cubicBezTo>
                  <a:cubicBezTo>
                    <a:pt x="217" y="25"/>
                    <a:pt x="217" y="25"/>
                    <a:pt x="217" y="25"/>
                  </a:cubicBezTo>
                  <a:cubicBezTo>
                    <a:pt x="217" y="27"/>
                    <a:pt x="218" y="28"/>
                    <a:pt x="220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31" y="28"/>
                    <a:pt x="232" y="27"/>
                    <a:pt x="232" y="25"/>
                  </a:cubicBezTo>
                  <a:cubicBezTo>
                    <a:pt x="232" y="24"/>
                    <a:pt x="231" y="23"/>
                    <a:pt x="229" y="23"/>
                  </a:cubicBezTo>
                  <a:lnTo>
                    <a:pt x="222" y="23"/>
                  </a:lnTo>
                  <a:close/>
                  <a:moveTo>
                    <a:pt x="199" y="17"/>
                  </a:moveTo>
                  <a:cubicBezTo>
                    <a:pt x="201" y="6"/>
                    <a:pt x="201" y="6"/>
                    <a:pt x="201" y="6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4" y="17"/>
                    <a:pt x="204" y="17"/>
                    <a:pt x="204" y="17"/>
                  </a:cubicBezTo>
                  <a:lnTo>
                    <a:pt x="199" y="17"/>
                  </a:lnTo>
                  <a:close/>
                  <a:moveTo>
                    <a:pt x="204" y="21"/>
                  </a:moveTo>
                  <a:cubicBezTo>
                    <a:pt x="205" y="25"/>
                    <a:pt x="205" y="25"/>
                    <a:pt x="205" y="25"/>
                  </a:cubicBezTo>
                  <a:cubicBezTo>
                    <a:pt x="206" y="27"/>
                    <a:pt x="206" y="28"/>
                    <a:pt x="208" y="28"/>
                  </a:cubicBezTo>
                  <a:cubicBezTo>
                    <a:pt x="209" y="28"/>
                    <a:pt x="211" y="27"/>
                    <a:pt x="211" y="26"/>
                  </a:cubicBezTo>
                  <a:cubicBezTo>
                    <a:pt x="211" y="25"/>
                    <a:pt x="210" y="25"/>
                    <a:pt x="210" y="24"/>
                  </a:cubicBezTo>
                  <a:cubicBezTo>
                    <a:pt x="206" y="4"/>
                    <a:pt x="206" y="4"/>
                    <a:pt x="206" y="4"/>
                  </a:cubicBezTo>
                  <a:cubicBezTo>
                    <a:pt x="205" y="1"/>
                    <a:pt x="204" y="0"/>
                    <a:pt x="201" y="0"/>
                  </a:cubicBezTo>
                  <a:cubicBezTo>
                    <a:pt x="199" y="0"/>
                    <a:pt x="198" y="1"/>
                    <a:pt x="197" y="4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2" y="25"/>
                    <a:pt x="192" y="25"/>
                    <a:pt x="192" y="26"/>
                  </a:cubicBezTo>
                  <a:cubicBezTo>
                    <a:pt x="192" y="27"/>
                    <a:pt x="193" y="28"/>
                    <a:pt x="195" y="28"/>
                  </a:cubicBezTo>
                  <a:cubicBezTo>
                    <a:pt x="196" y="28"/>
                    <a:pt x="197" y="27"/>
                    <a:pt x="197" y="26"/>
                  </a:cubicBezTo>
                  <a:cubicBezTo>
                    <a:pt x="198" y="21"/>
                    <a:pt x="198" y="21"/>
                    <a:pt x="198" y="21"/>
                  </a:cubicBezTo>
                  <a:lnTo>
                    <a:pt x="204" y="21"/>
                  </a:lnTo>
                  <a:close/>
                  <a:moveTo>
                    <a:pt x="176" y="16"/>
                  </a:moveTo>
                  <a:cubicBezTo>
                    <a:pt x="183" y="16"/>
                    <a:pt x="183" y="16"/>
                    <a:pt x="183" y="16"/>
                  </a:cubicBezTo>
                  <a:cubicBezTo>
                    <a:pt x="185" y="16"/>
                    <a:pt x="186" y="15"/>
                    <a:pt x="186" y="14"/>
                  </a:cubicBezTo>
                  <a:cubicBezTo>
                    <a:pt x="186" y="12"/>
                    <a:pt x="185" y="11"/>
                    <a:pt x="183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6" y="5"/>
                    <a:pt x="176" y="5"/>
                    <a:pt x="176" y="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86" y="5"/>
                    <a:pt x="186" y="4"/>
                    <a:pt x="186" y="3"/>
                  </a:cubicBezTo>
                  <a:cubicBezTo>
                    <a:pt x="186" y="2"/>
                    <a:pt x="186" y="1"/>
                    <a:pt x="184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2" y="1"/>
                    <a:pt x="171" y="2"/>
                    <a:pt x="171" y="3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7"/>
                    <a:pt x="172" y="28"/>
                    <a:pt x="174" y="28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6" y="28"/>
                    <a:pt x="187" y="27"/>
                    <a:pt x="187" y="25"/>
                  </a:cubicBezTo>
                  <a:cubicBezTo>
                    <a:pt x="187" y="24"/>
                    <a:pt x="186" y="23"/>
                    <a:pt x="184" y="23"/>
                  </a:cubicBezTo>
                  <a:cubicBezTo>
                    <a:pt x="176" y="23"/>
                    <a:pt x="176" y="23"/>
                    <a:pt x="176" y="23"/>
                  </a:cubicBezTo>
                  <a:lnTo>
                    <a:pt x="176" y="16"/>
                  </a:lnTo>
                  <a:close/>
                  <a:moveTo>
                    <a:pt x="158" y="15"/>
                  </a:moveTo>
                  <a:cubicBezTo>
                    <a:pt x="158" y="26"/>
                    <a:pt x="158" y="26"/>
                    <a:pt x="158" y="26"/>
                  </a:cubicBezTo>
                  <a:cubicBezTo>
                    <a:pt x="158" y="27"/>
                    <a:pt x="160" y="28"/>
                    <a:pt x="161" y="28"/>
                  </a:cubicBezTo>
                  <a:cubicBezTo>
                    <a:pt x="162" y="28"/>
                    <a:pt x="163" y="27"/>
                    <a:pt x="163" y="26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1"/>
                    <a:pt x="162" y="0"/>
                    <a:pt x="161" y="0"/>
                  </a:cubicBezTo>
                  <a:cubicBezTo>
                    <a:pt x="160" y="0"/>
                    <a:pt x="158" y="1"/>
                    <a:pt x="158" y="3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1"/>
                    <a:pt x="151" y="0"/>
                    <a:pt x="149" y="0"/>
                  </a:cubicBezTo>
                  <a:cubicBezTo>
                    <a:pt x="148" y="0"/>
                    <a:pt x="147" y="1"/>
                    <a:pt x="147" y="3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7" y="27"/>
                    <a:pt x="148" y="28"/>
                    <a:pt x="149" y="28"/>
                  </a:cubicBezTo>
                  <a:cubicBezTo>
                    <a:pt x="151" y="28"/>
                    <a:pt x="152" y="27"/>
                    <a:pt x="152" y="26"/>
                  </a:cubicBezTo>
                  <a:cubicBezTo>
                    <a:pt x="152" y="15"/>
                    <a:pt x="152" y="15"/>
                    <a:pt x="152" y="15"/>
                  </a:cubicBezTo>
                  <a:lnTo>
                    <a:pt x="158" y="15"/>
                  </a:lnTo>
                  <a:close/>
                  <a:moveTo>
                    <a:pt x="117" y="23"/>
                  </a:moveTo>
                  <a:cubicBezTo>
                    <a:pt x="117" y="3"/>
                    <a:pt x="117" y="3"/>
                    <a:pt x="117" y="3"/>
                  </a:cubicBezTo>
                  <a:cubicBezTo>
                    <a:pt x="117" y="1"/>
                    <a:pt x="116" y="0"/>
                    <a:pt x="115" y="0"/>
                  </a:cubicBezTo>
                  <a:cubicBezTo>
                    <a:pt x="114" y="0"/>
                    <a:pt x="112" y="1"/>
                    <a:pt x="112" y="3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12" y="27"/>
                    <a:pt x="113" y="28"/>
                    <a:pt x="115" y="28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7" y="28"/>
                    <a:pt x="128" y="27"/>
                    <a:pt x="128" y="25"/>
                  </a:cubicBezTo>
                  <a:cubicBezTo>
                    <a:pt x="128" y="24"/>
                    <a:pt x="127" y="23"/>
                    <a:pt x="125" y="23"/>
                  </a:cubicBezTo>
                  <a:lnTo>
                    <a:pt x="117" y="23"/>
                  </a:lnTo>
                  <a:close/>
                  <a:moveTo>
                    <a:pt x="94" y="17"/>
                  </a:moveTo>
                  <a:cubicBezTo>
                    <a:pt x="97" y="6"/>
                    <a:pt x="97" y="6"/>
                    <a:pt x="97" y="6"/>
                  </a:cubicBezTo>
                  <a:cubicBezTo>
                    <a:pt x="97" y="6"/>
                    <a:pt x="97" y="6"/>
                    <a:pt x="97" y="6"/>
                  </a:cubicBezTo>
                  <a:cubicBezTo>
                    <a:pt x="99" y="17"/>
                    <a:pt x="99" y="17"/>
                    <a:pt x="99" y="17"/>
                  </a:cubicBezTo>
                  <a:lnTo>
                    <a:pt x="94" y="17"/>
                  </a:lnTo>
                  <a:close/>
                  <a:moveTo>
                    <a:pt x="100" y="21"/>
                  </a:moveTo>
                  <a:cubicBezTo>
                    <a:pt x="101" y="25"/>
                    <a:pt x="101" y="25"/>
                    <a:pt x="101" y="25"/>
                  </a:cubicBezTo>
                  <a:cubicBezTo>
                    <a:pt x="101" y="27"/>
                    <a:pt x="102" y="28"/>
                    <a:pt x="104" y="28"/>
                  </a:cubicBezTo>
                  <a:cubicBezTo>
                    <a:pt x="105" y="28"/>
                    <a:pt x="106" y="27"/>
                    <a:pt x="106" y="26"/>
                  </a:cubicBezTo>
                  <a:cubicBezTo>
                    <a:pt x="106" y="25"/>
                    <a:pt x="106" y="25"/>
                    <a:pt x="106" y="2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0" y="1"/>
                    <a:pt x="99" y="0"/>
                    <a:pt x="97" y="0"/>
                  </a:cubicBezTo>
                  <a:cubicBezTo>
                    <a:pt x="94" y="0"/>
                    <a:pt x="93" y="1"/>
                    <a:pt x="93" y="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25"/>
                    <a:pt x="88" y="25"/>
                    <a:pt x="88" y="26"/>
                  </a:cubicBezTo>
                  <a:cubicBezTo>
                    <a:pt x="88" y="27"/>
                    <a:pt x="88" y="28"/>
                    <a:pt x="90" y="28"/>
                  </a:cubicBezTo>
                  <a:cubicBezTo>
                    <a:pt x="92" y="28"/>
                    <a:pt x="92" y="27"/>
                    <a:pt x="93" y="26"/>
                  </a:cubicBezTo>
                  <a:cubicBezTo>
                    <a:pt x="94" y="21"/>
                    <a:pt x="94" y="21"/>
                    <a:pt x="94" y="21"/>
                  </a:cubicBezTo>
                  <a:lnTo>
                    <a:pt x="100" y="21"/>
                  </a:lnTo>
                  <a:close/>
                  <a:moveTo>
                    <a:pt x="71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5" y="4"/>
                    <a:pt x="76" y="5"/>
                    <a:pt x="76" y="8"/>
                  </a:cubicBezTo>
                  <a:cubicBezTo>
                    <a:pt x="76" y="10"/>
                    <a:pt x="75" y="12"/>
                    <a:pt x="73" y="12"/>
                  </a:cubicBezTo>
                  <a:cubicBezTo>
                    <a:pt x="71" y="12"/>
                    <a:pt x="71" y="12"/>
                    <a:pt x="71" y="12"/>
                  </a:cubicBezTo>
                  <a:lnTo>
                    <a:pt x="71" y="4"/>
                  </a:lnTo>
                  <a:close/>
                  <a:moveTo>
                    <a:pt x="71" y="15"/>
                  </a:moveTo>
                  <a:cubicBezTo>
                    <a:pt x="74" y="15"/>
                    <a:pt x="74" y="15"/>
                    <a:pt x="74" y="15"/>
                  </a:cubicBezTo>
                  <a:cubicBezTo>
                    <a:pt x="76" y="15"/>
                    <a:pt x="77" y="17"/>
                    <a:pt x="77" y="19"/>
                  </a:cubicBezTo>
                  <a:cubicBezTo>
                    <a:pt x="77" y="22"/>
                    <a:pt x="76" y="24"/>
                    <a:pt x="74" y="24"/>
                  </a:cubicBezTo>
                  <a:cubicBezTo>
                    <a:pt x="71" y="24"/>
                    <a:pt x="71" y="24"/>
                    <a:pt x="71" y="24"/>
                  </a:cubicBezTo>
                  <a:lnTo>
                    <a:pt x="71" y="15"/>
                  </a:lnTo>
                  <a:close/>
                  <a:moveTo>
                    <a:pt x="66" y="25"/>
                  </a:moveTo>
                  <a:cubicBezTo>
                    <a:pt x="66" y="27"/>
                    <a:pt x="67" y="28"/>
                    <a:pt x="69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8"/>
                    <a:pt x="82" y="24"/>
                    <a:pt x="82" y="19"/>
                  </a:cubicBezTo>
                  <a:cubicBezTo>
                    <a:pt x="82" y="16"/>
                    <a:pt x="81" y="14"/>
                    <a:pt x="79" y="13"/>
                  </a:cubicBezTo>
                  <a:cubicBezTo>
                    <a:pt x="80" y="13"/>
                    <a:pt x="81" y="10"/>
                    <a:pt x="81" y="8"/>
                  </a:cubicBezTo>
                  <a:cubicBezTo>
                    <a:pt x="81" y="3"/>
                    <a:pt x="80" y="1"/>
                    <a:pt x="75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7" y="1"/>
                    <a:pt x="66" y="2"/>
                    <a:pt x="66" y="3"/>
                  </a:cubicBezTo>
                  <a:lnTo>
                    <a:pt x="66" y="25"/>
                  </a:lnTo>
                  <a:close/>
                  <a:moveTo>
                    <a:pt x="48" y="11"/>
                  </a:moveTo>
                  <a:cubicBezTo>
                    <a:pt x="48" y="5"/>
                    <a:pt x="49" y="4"/>
                    <a:pt x="51" y="4"/>
                  </a:cubicBezTo>
                  <a:cubicBezTo>
                    <a:pt x="52" y="4"/>
                    <a:pt x="54" y="5"/>
                    <a:pt x="54" y="11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23"/>
                    <a:pt x="53" y="24"/>
                    <a:pt x="51" y="24"/>
                  </a:cubicBezTo>
                  <a:cubicBezTo>
                    <a:pt x="48" y="24"/>
                    <a:pt x="48" y="23"/>
                    <a:pt x="48" y="17"/>
                  </a:cubicBezTo>
                  <a:lnTo>
                    <a:pt x="48" y="11"/>
                  </a:lnTo>
                  <a:close/>
                  <a:moveTo>
                    <a:pt x="42" y="17"/>
                  </a:moveTo>
                  <a:cubicBezTo>
                    <a:pt x="42" y="27"/>
                    <a:pt x="46" y="28"/>
                    <a:pt x="51" y="28"/>
                  </a:cubicBezTo>
                  <a:cubicBezTo>
                    <a:pt x="55" y="28"/>
                    <a:pt x="59" y="27"/>
                    <a:pt x="59" y="1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"/>
                    <a:pt x="55" y="0"/>
                    <a:pt x="51" y="0"/>
                  </a:cubicBezTo>
                  <a:cubicBezTo>
                    <a:pt x="46" y="0"/>
                    <a:pt x="42" y="1"/>
                    <a:pt x="42" y="11"/>
                  </a:cubicBezTo>
                  <a:lnTo>
                    <a:pt x="42" y="17"/>
                  </a:lnTo>
                  <a:close/>
                  <a:moveTo>
                    <a:pt x="28" y="2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25" y="0"/>
                    <a:pt x="23" y="1"/>
                    <a:pt x="23" y="3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7"/>
                    <a:pt x="24" y="28"/>
                    <a:pt x="2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8" y="28"/>
                    <a:pt x="39" y="27"/>
                    <a:pt x="39" y="25"/>
                  </a:cubicBezTo>
                  <a:cubicBezTo>
                    <a:pt x="39" y="24"/>
                    <a:pt x="38" y="23"/>
                    <a:pt x="36" y="23"/>
                  </a:cubicBezTo>
                  <a:lnTo>
                    <a:pt x="28" y="23"/>
                  </a:lnTo>
                  <a:close/>
                  <a:moveTo>
                    <a:pt x="16" y="15"/>
                  </a:moveTo>
                  <a:cubicBezTo>
                    <a:pt x="16" y="14"/>
                    <a:pt x="15" y="13"/>
                    <a:pt x="13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7" y="14"/>
                    <a:pt x="7" y="15"/>
                  </a:cubicBezTo>
                  <a:cubicBezTo>
                    <a:pt x="7" y="16"/>
                    <a:pt x="8" y="17"/>
                    <a:pt x="9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10" y="24"/>
                    <a:pt x="8" y="24"/>
                  </a:cubicBezTo>
                  <a:cubicBezTo>
                    <a:pt x="5" y="24"/>
                    <a:pt x="5" y="22"/>
                    <a:pt x="5" y="1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1" y="5"/>
                    <a:pt x="11" y="6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3"/>
                    <a:pt x="14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1" y="28"/>
                    <a:pt x="7" y="28"/>
                  </a:cubicBezTo>
                  <a:cubicBezTo>
                    <a:pt x="9" y="28"/>
                    <a:pt x="11" y="27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3" y="28"/>
                    <a:pt x="14" y="28"/>
                  </a:cubicBezTo>
                  <a:cubicBezTo>
                    <a:pt x="15" y="28"/>
                    <a:pt x="16" y="27"/>
                    <a:pt x="16" y="26"/>
                  </a:cubicBezTo>
                  <a:lnTo>
                    <a:pt x="16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CD37314B-0B2E-4EB0-97A2-01385B517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812"/>
              <a:ext cx="821" cy="111"/>
            </a:xfrm>
            <a:custGeom>
              <a:avLst/>
              <a:gdLst>
                <a:gd name="T0" fmla="*/ 202 w 208"/>
                <a:gd name="T1" fmla="*/ 13 h 28"/>
                <a:gd name="T2" fmla="*/ 204 w 208"/>
                <a:gd name="T3" fmla="*/ 17 h 28"/>
                <a:gd name="T4" fmla="*/ 197 w 208"/>
                <a:gd name="T5" fmla="*/ 15 h 28"/>
                <a:gd name="T6" fmla="*/ 203 w 208"/>
                <a:gd name="T7" fmla="*/ 6 h 28"/>
                <a:gd name="T8" fmla="*/ 201 w 208"/>
                <a:gd name="T9" fmla="*/ 0 h 28"/>
                <a:gd name="T10" fmla="*/ 199 w 208"/>
                <a:gd name="T11" fmla="*/ 28 h 28"/>
                <a:gd name="T12" fmla="*/ 205 w 208"/>
                <a:gd name="T13" fmla="*/ 26 h 28"/>
                <a:gd name="T14" fmla="*/ 208 w 208"/>
                <a:gd name="T15" fmla="*/ 15 h 28"/>
                <a:gd name="T16" fmla="*/ 173 w 208"/>
                <a:gd name="T17" fmla="*/ 25 h 28"/>
                <a:gd name="T18" fmla="*/ 179 w 208"/>
                <a:gd name="T19" fmla="*/ 26 h 28"/>
                <a:gd name="T20" fmla="*/ 185 w 208"/>
                <a:gd name="T21" fmla="*/ 3 h 28"/>
                <a:gd name="T22" fmla="*/ 180 w 208"/>
                <a:gd name="T23" fmla="*/ 17 h 28"/>
                <a:gd name="T24" fmla="*/ 170 w 208"/>
                <a:gd name="T25" fmla="*/ 0 h 28"/>
                <a:gd name="T26" fmla="*/ 154 w 208"/>
                <a:gd name="T27" fmla="*/ 25 h 28"/>
                <a:gd name="T28" fmla="*/ 160 w 208"/>
                <a:gd name="T29" fmla="*/ 3 h 28"/>
                <a:gd name="T30" fmla="*/ 154 w 208"/>
                <a:gd name="T31" fmla="*/ 25 h 28"/>
                <a:gd name="T32" fmla="*/ 134 w 208"/>
                <a:gd name="T33" fmla="*/ 5 h 28"/>
                <a:gd name="T34" fmla="*/ 140 w 208"/>
                <a:gd name="T35" fmla="*/ 28 h 28"/>
                <a:gd name="T36" fmla="*/ 147 w 208"/>
                <a:gd name="T37" fmla="*/ 5 h 28"/>
                <a:gd name="T38" fmla="*/ 134 w 208"/>
                <a:gd name="T39" fmla="*/ 1 h 28"/>
                <a:gd name="T40" fmla="*/ 120 w 208"/>
                <a:gd name="T41" fmla="*/ 0 h 28"/>
                <a:gd name="T42" fmla="*/ 120 w 208"/>
                <a:gd name="T43" fmla="*/ 28 h 28"/>
                <a:gd name="T44" fmla="*/ 130 w 208"/>
                <a:gd name="T45" fmla="*/ 23 h 28"/>
                <a:gd name="T46" fmla="*/ 101 w 208"/>
                <a:gd name="T47" fmla="*/ 28 h 28"/>
                <a:gd name="T48" fmla="*/ 107 w 208"/>
                <a:gd name="T49" fmla="*/ 0 h 28"/>
                <a:gd name="T50" fmla="*/ 101 w 208"/>
                <a:gd name="T51" fmla="*/ 24 h 28"/>
                <a:gd name="T52" fmla="*/ 96 w 208"/>
                <a:gd name="T53" fmla="*/ 0 h 28"/>
                <a:gd name="T54" fmla="*/ 79 w 208"/>
                <a:gd name="T55" fmla="*/ 17 h 28"/>
                <a:gd name="T56" fmla="*/ 75 w 208"/>
                <a:gd name="T57" fmla="*/ 21 h 28"/>
                <a:gd name="T58" fmla="*/ 78 w 208"/>
                <a:gd name="T59" fmla="*/ 28 h 28"/>
                <a:gd name="T60" fmla="*/ 78 w 208"/>
                <a:gd name="T61" fmla="*/ 11 h 28"/>
                <a:gd name="T62" fmla="*/ 81 w 208"/>
                <a:gd name="T63" fmla="*/ 6 h 28"/>
                <a:gd name="T64" fmla="*/ 78 w 208"/>
                <a:gd name="T65" fmla="*/ 0 h 28"/>
                <a:gd name="T66" fmla="*/ 79 w 208"/>
                <a:gd name="T67" fmla="*/ 17 h 28"/>
                <a:gd name="T68" fmla="*/ 51 w 208"/>
                <a:gd name="T69" fmla="*/ 25 h 28"/>
                <a:gd name="T70" fmla="*/ 57 w 208"/>
                <a:gd name="T71" fmla="*/ 26 h 28"/>
                <a:gd name="T72" fmla="*/ 63 w 208"/>
                <a:gd name="T73" fmla="*/ 3 h 28"/>
                <a:gd name="T74" fmla="*/ 58 w 208"/>
                <a:gd name="T75" fmla="*/ 17 h 28"/>
                <a:gd name="T76" fmla="*/ 49 w 208"/>
                <a:gd name="T77" fmla="*/ 0 h 28"/>
                <a:gd name="T78" fmla="*/ 27 w 208"/>
                <a:gd name="T79" fmla="*/ 11 h 28"/>
                <a:gd name="T80" fmla="*/ 33 w 208"/>
                <a:gd name="T81" fmla="*/ 17 h 28"/>
                <a:gd name="T82" fmla="*/ 27 w 208"/>
                <a:gd name="T83" fmla="*/ 11 h 28"/>
                <a:gd name="T84" fmla="*/ 39 w 208"/>
                <a:gd name="T85" fmla="*/ 17 h 28"/>
                <a:gd name="T86" fmla="*/ 22 w 208"/>
                <a:gd name="T87" fmla="*/ 11 h 28"/>
                <a:gd name="T88" fmla="*/ 8 w 208"/>
                <a:gd name="T89" fmla="*/ 28 h 28"/>
                <a:gd name="T90" fmla="*/ 11 w 208"/>
                <a:gd name="T91" fmla="*/ 22 h 28"/>
                <a:gd name="T92" fmla="*/ 5 w 208"/>
                <a:gd name="T93" fmla="*/ 13 h 28"/>
                <a:gd name="T94" fmla="*/ 13 w 208"/>
                <a:gd name="T95" fmla="*/ 10 h 28"/>
                <a:gd name="T96" fmla="*/ 0 w 208"/>
                <a:gd name="T97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8" h="28">
                  <a:moveTo>
                    <a:pt x="208" y="15"/>
                  </a:moveTo>
                  <a:cubicBezTo>
                    <a:pt x="208" y="14"/>
                    <a:pt x="208" y="13"/>
                    <a:pt x="206" y="13"/>
                  </a:cubicBezTo>
                  <a:cubicBezTo>
                    <a:pt x="202" y="13"/>
                    <a:pt x="202" y="13"/>
                    <a:pt x="202" y="13"/>
                  </a:cubicBezTo>
                  <a:cubicBezTo>
                    <a:pt x="200" y="13"/>
                    <a:pt x="200" y="13"/>
                    <a:pt x="200" y="15"/>
                  </a:cubicBezTo>
                  <a:cubicBezTo>
                    <a:pt x="200" y="16"/>
                    <a:pt x="200" y="17"/>
                    <a:pt x="202" y="17"/>
                  </a:cubicBezTo>
                  <a:cubicBezTo>
                    <a:pt x="204" y="17"/>
                    <a:pt x="204" y="17"/>
                    <a:pt x="204" y="17"/>
                  </a:cubicBezTo>
                  <a:cubicBezTo>
                    <a:pt x="204" y="19"/>
                    <a:pt x="204" y="19"/>
                    <a:pt x="204" y="19"/>
                  </a:cubicBezTo>
                  <a:cubicBezTo>
                    <a:pt x="204" y="22"/>
                    <a:pt x="203" y="24"/>
                    <a:pt x="201" y="24"/>
                  </a:cubicBezTo>
                  <a:cubicBezTo>
                    <a:pt x="198" y="24"/>
                    <a:pt x="197" y="22"/>
                    <a:pt x="197" y="15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5"/>
                    <a:pt x="199" y="4"/>
                    <a:pt x="201" y="4"/>
                  </a:cubicBezTo>
                  <a:cubicBezTo>
                    <a:pt x="203" y="4"/>
                    <a:pt x="203" y="5"/>
                    <a:pt x="203" y="6"/>
                  </a:cubicBezTo>
                  <a:cubicBezTo>
                    <a:pt x="204" y="9"/>
                    <a:pt x="204" y="10"/>
                    <a:pt x="206" y="10"/>
                  </a:cubicBezTo>
                  <a:cubicBezTo>
                    <a:pt x="208" y="10"/>
                    <a:pt x="208" y="8"/>
                    <a:pt x="208" y="7"/>
                  </a:cubicBezTo>
                  <a:cubicBezTo>
                    <a:pt x="208" y="3"/>
                    <a:pt x="206" y="0"/>
                    <a:pt x="201" y="0"/>
                  </a:cubicBezTo>
                  <a:cubicBezTo>
                    <a:pt x="195" y="0"/>
                    <a:pt x="192" y="3"/>
                    <a:pt x="192" y="12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23"/>
                    <a:pt x="194" y="28"/>
                    <a:pt x="199" y="28"/>
                  </a:cubicBezTo>
                  <a:cubicBezTo>
                    <a:pt x="202" y="28"/>
                    <a:pt x="203" y="27"/>
                    <a:pt x="204" y="25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6"/>
                    <a:pt x="205" y="26"/>
                    <a:pt x="205" y="26"/>
                  </a:cubicBezTo>
                  <a:cubicBezTo>
                    <a:pt x="205" y="27"/>
                    <a:pt x="205" y="28"/>
                    <a:pt x="207" y="28"/>
                  </a:cubicBezTo>
                  <a:cubicBezTo>
                    <a:pt x="208" y="28"/>
                    <a:pt x="208" y="27"/>
                    <a:pt x="208" y="26"/>
                  </a:cubicBezTo>
                  <a:lnTo>
                    <a:pt x="208" y="15"/>
                  </a:lnTo>
                  <a:close/>
                  <a:moveTo>
                    <a:pt x="168" y="25"/>
                  </a:moveTo>
                  <a:cubicBezTo>
                    <a:pt x="168" y="27"/>
                    <a:pt x="169" y="28"/>
                    <a:pt x="170" y="28"/>
                  </a:cubicBezTo>
                  <a:cubicBezTo>
                    <a:pt x="172" y="28"/>
                    <a:pt x="173" y="27"/>
                    <a:pt x="173" y="25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9" y="26"/>
                    <a:pt x="179" y="26"/>
                    <a:pt x="179" y="26"/>
                  </a:cubicBezTo>
                  <a:cubicBezTo>
                    <a:pt x="180" y="28"/>
                    <a:pt x="180" y="28"/>
                    <a:pt x="182" y="28"/>
                  </a:cubicBezTo>
                  <a:cubicBezTo>
                    <a:pt x="184" y="28"/>
                    <a:pt x="185" y="27"/>
                    <a:pt x="185" y="25"/>
                  </a:cubicBezTo>
                  <a:cubicBezTo>
                    <a:pt x="185" y="3"/>
                    <a:pt x="185" y="3"/>
                    <a:pt x="185" y="3"/>
                  </a:cubicBezTo>
                  <a:cubicBezTo>
                    <a:pt x="185" y="1"/>
                    <a:pt x="184" y="0"/>
                    <a:pt x="182" y="0"/>
                  </a:cubicBezTo>
                  <a:cubicBezTo>
                    <a:pt x="181" y="0"/>
                    <a:pt x="180" y="1"/>
                    <a:pt x="180" y="3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3" y="1"/>
                    <a:pt x="172" y="0"/>
                    <a:pt x="170" y="0"/>
                  </a:cubicBezTo>
                  <a:cubicBezTo>
                    <a:pt x="169" y="0"/>
                    <a:pt x="168" y="1"/>
                    <a:pt x="168" y="3"/>
                  </a:cubicBezTo>
                  <a:lnTo>
                    <a:pt x="168" y="25"/>
                  </a:lnTo>
                  <a:close/>
                  <a:moveTo>
                    <a:pt x="154" y="25"/>
                  </a:moveTo>
                  <a:cubicBezTo>
                    <a:pt x="154" y="27"/>
                    <a:pt x="156" y="28"/>
                    <a:pt x="157" y="28"/>
                  </a:cubicBezTo>
                  <a:cubicBezTo>
                    <a:pt x="158" y="28"/>
                    <a:pt x="160" y="27"/>
                    <a:pt x="160" y="25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1"/>
                    <a:pt x="158" y="0"/>
                    <a:pt x="157" y="0"/>
                  </a:cubicBezTo>
                  <a:cubicBezTo>
                    <a:pt x="156" y="0"/>
                    <a:pt x="154" y="1"/>
                    <a:pt x="154" y="3"/>
                  </a:cubicBezTo>
                  <a:lnTo>
                    <a:pt x="154" y="25"/>
                  </a:lnTo>
                  <a:close/>
                  <a:moveTo>
                    <a:pt x="134" y="1"/>
                  </a:moveTo>
                  <a:cubicBezTo>
                    <a:pt x="132" y="1"/>
                    <a:pt x="131" y="2"/>
                    <a:pt x="131" y="3"/>
                  </a:cubicBezTo>
                  <a:cubicBezTo>
                    <a:pt x="131" y="4"/>
                    <a:pt x="132" y="5"/>
                    <a:pt x="134" y="5"/>
                  </a:cubicBezTo>
                  <a:cubicBezTo>
                    <a:pt x="138" y="5"/>
                    <a:pt x="138" y="5"/>
                    <a:pt x="138" y="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7"/>
                    <a:pt x="139" y="28"/>
                    <a:pt x="140" y="28"/>
                  </a:cubicBezTo>
                  <a:cubicBezTo>
                    <a:pt x="142" y="28"/>
                    <a:pt x="143" y="27"/>
                    <a:pt x="143" y="2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9" y="5"/>
                    <a:pt x="149" y="4"/>
                    <a:pt x="149" y="3"/>
                  </a:cubicBezTo>
                  <a:cubicBezTo>
                    <a:pt x="149" y="2"/>
                    <a:pt x="149" y="1"/>
                    <a:pt x="147" y="1"/>
                  </a:cubicBezTo>
                  <a:lnTo>
                    <a:pt x="134" y="1"/>
                  </a:lnTo>
                  <a:close/>
                  <a:moveTo>
                    <a:pt x="122" y="23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22" y="1"/>
                    <a:pt x="121" y="0"/>
                    <a:pt x="120" y="0"/>
                  </a:cubicBezTo>
                  <a:cubicBezTo>
                    <a:pt x="119" y="0"/>
                    <a:pt x="117" y="1"/>
                    <a:pt x="117" y="3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27"/>
                    <a:pt x="118" y="28"/>
                    <a:pt x="12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2" y="28"/>
                    <a:pt x="132" y="27"/>
                    <a:pt x="132" y="25"/>
                  </a:cubicBezTo>
                  <a:cubicBezTo>
                    <a:pt x="132" y="24"/>
                    <a:pt x="132" y="23"/>
                    <a:pt x="130" y="23"/>
                  </a:cubicBezTo>
                  <a:lnTo>
                    <a:pt x="122" y="23"/>
                  </a:lnTo>
                  <a:close/>
                  <a:moveTo>
                    <a:pt x="93" y="20"/>
                  </a:moveTo>
                  <a:cubicBezTo>
                    <a:pt x="93" y="25"/>
                    <a:pt x="96" y="28"/>
                    <a:pt x="101" y="28"/>
                  </a:cubicBezTo>
                  <a:cubicBezTo>
                    <a:pt x="107" y="28"/>
                    <a:pt x="110" y="25"/>
                    <a:pt x="110" y="20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0" y="1"/>
                    <a:pt x="108" y="0"/>
                    <a:pt x="107" y="0"/>
                  </a:cubicBezTo>
                  <a:cubicBezTo>
                    <a:pt x="106" y="0"/>
                    <a:pt x="105" y="1"/>
                    <a:pt x="105" y="3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5" y="23"/>
                    <a:pt x="103" y="24"/>
                    <a:pt x="101" y="24"/>
                  </a:cubicBezTo>
                  <a:cubicBezTo>
                    <a:pt x="100" y="24"/>
                    <a:pt x="98" y="23"/>
                    <a:pt x="98" y="2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8" y="1"/>
                    <a:pt x="97" y="0"/>
                    <a:pt x="96" y="0"/>
                  </a:cubicBezTo>
                  <a:cubicBezTo>
                    <a:pt x="94" y="0"/>
                    <a:pt x="93" y="1"/>
                    <a:pt x="93" y="3"/>
                  </a:cubicBezTo>
                  <a:lnTo>
                    <a:pt x="93" y="20"/>
                  </a:lnTo>
                  <a:close/>
                  <a:moveTo>
                    <a:pt x="79" y="17"/>
                  </a:moveTo>
                  <a:cubicBezTo>
                    <a:pt x="81" y="18"/>
                    <a:pt x="81" y="19"/>
                    <a:pt x="81" y="21"/>
                  </a:cubicBezTo>
                  <a:cubicBezTo>
                    <a:pt x="81" y="23"/>
                    <a:pt x="80" y="24"/>
                    <a:pt x="78" y="24"/>
                  </a:cubicBezTo>
                  <a:cubicBezTo>
                    <a:pt x="76" y="24"/>
                    <a:pt x="75" y="23"/>
                    <a:pt x="75" y="21"/>
                  </a:cubicBezTo>
                  <a:cubicBezTo>
                    <a:pt x="75" y="19"/>
                    <a:pt x="74" y="18"/>
                    <a:pt x="73" y="18"/>
                  </a:cubicBezTo>
                  <a:cubicBezTo>
                    <a:pt x="71" y="18"/>
                    <a:pt x="70" y="19"/>
                    <a:pt x="70" y="21"/>
                  </a:cubicBezTo>
                  <a:cubicBezTo>
                    <a:pt x="70" y="22"/>
                    <a:pt x="71" y="28"/>
                    <a:pt x="78" y="28"/>
                  </a:cubicBezTo>
                  <a:cubicBezTo>
                    <a:pt x="84" y="28"/>
                    <a:pt x="86" y="25"/>
                    <a:pt x="86" y="21"/>
                  </a:cubicBezTo>
                  <a:cubicBezTo>
                    <a:pt x="86" y="17"/>
                    <a:pt x="85" y="15"/>
                    <a:pt x="82" y="13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6" y="9"/>
                    <a:pt x="76" y="8"/>
                    <a:pt x="76" y="7"/>
                  </a:cubicBezTo>
                  <a:cubicBezTo>
                    <a:pt x="76" y="5"/>
                    <a:pt x="77" y="4"/>
                    <a:pt x="78" y="4"/>
                  </a:cubicBezTo>
                  <a:cubicBezTo>
                    <a:pt x="80" y="4"/>
                    <a:pt x="81" y="5"/>
                    <a:pt x="81" y="6"/>
                  </a:cubicBezTo>
                  <a:cubicBezTo>
                    <a:pt x="81" y="8"/>
                    <a:pt x="81" y="9"/>
                    <a:pt x="83" y="9"/>
                  </a:cubicBezTo>
                  <a:cubicBezTo>
                    <a:pt x="85" y="9"/>
                    <a:pt x="86" y="8"/>
                    <a:pt x="86" y="7"/>
                  </a:cubicBezTo>
                  <a:cubicBezTo>
                    <a:pt x="86" y="4"/>
                    <a:pt x="84" y="0"/>
                    <a:pt x="78" y="0"/>
                  </a:cubicBezTo>
                  <a:cubicBezTo>
                    <a:pt x="74" y="0"/>
                    <a:pt x="71" y="2"/>
                    <a:pt x="71" y="7"/>
                  </a:cubicBezTo>
                  <a:cubicBezTo>
                    <a:pt x="71" y="10"/>
                    <a:pt x="71" y="12"/>
                    <a:pt x="74" y="14"/>
                  </a:cubicBezTo>
                  <a:lnTo>
                    <a:pt x="79" y="17"/>
                  </a:lnTo>
                  <a:close/>
                  <a:moveTo>
                    <a:pt x="46" y="25"/>
                  </a:moveTo>
                  <a:cubicBezTo>
                    <a:pt x="46" y="27"/>
                    <a:pt x="47" y="28"/>
                    <a:pt x="48" y="28"/>
                  </a:cubicBezTo>
                  <a:cubicBezTo>
                    <a:pt x="50" y="28"/>
                    <a:pt x="51" y="27"/>
                    <a:pt x="51" y="25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8"/>
                    <a:pt x="59" y="28"/>
                    <a:pt x="61" y="28"/>
                  </a:cubicBezTo>
                  <a:cubicBezTo>
                    <a:pt x="62" y="28"/>
                    <a:pt x="63" y="27"/>
                    <a:pt x="63" y="2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1"/>
                    <a:pt x="62" y="0"/>
                    <a:pt x="61" y="0"/>
                  </a:cubicBezTo>
                  <a:cubicBezTo>
                    <a:pt x="59" y="0"/>
                    <a:pt x="58" y="1"/>
                    <a:pt x="58" y="3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1" y="1"/>
                    <a:pt x="50" y="0"/>
                    <a:pt x="49" y="0"/>
                  </a:cubicBezTo>
                  <a:cubicBezTo>
                    <a:pt x="47" y="0"/>
                    <a:pt x="46" y="1"/>
                    <a:pt x="46" y="3"/>
                  </a:cubicBezTo>
                  <a:lnTo>
                    <a:pt x="46" y="25"/>
                  </a:lnTo>
                  <a:close/>
                  <a:moveTo>
                    <a:pt x="27" y="11"/>
                  </a:moveTo>
                  <a:cubicBezTo>
                    <a:pt x="27" y="5"/>
                    <a:pt x="28" y="4"/>
                    <a:pt x="30" y="4"/>
                  </a:cubicBezTo>
                  <a:cubicBezTo>
                    <a:pt x="32" y="4"/>
                    <a:pt x="33" y="5"/>
                    <a:pt x="33" y="11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23"/>
                    <a:pt x="32" y="24"/>
                    <a:pt x="30" y="24"/>
                  </a:cubicBezTo>
                  <a:cubicBezTo>
                    <a:pt x="28" y="24"/>
                    <a:pt x="27" y="23"/>
                    <a:pt x="27" y="17"/>
                  </a:cubicBezTo>
                  <a:lnTo>
                    <a:pt x="27" y="11"/>
                  </a:lnTo>
                  <a:close/>
                  <a:moveTo>
                    <a:pt x="22" y="17"/>
                  </a:moveTo>
                  <a:cubicBezTo>
                    <a:pt x="22" y="27"/>
                    <a:pt x="26" y="28"/>
                    <a:pt x="30" y="28"/>
                  </a:cubicBezTo>
                  <a:cubicBezTo>
                    <a:pt x="35" y="28"/>
                    <a:pt x="39" y="27"/>
                    <a:pt x="39" y="17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"/>
                    <a:pt x="35" y="0"/>
                    <a:pt x="30" y="0"/>
                  </a:cubicBezTo>
                  <a:cubicBezTo>
                    <a:pt x="26" y="0"/>
                    <a:pt x="22" y="1"/>
                    <a:pt x="22" y="11"/>
                  </a:cubicBezTo>
                  <a:lnTo>
                    <a:pt x="22" y="17"/>
                  </a:lnTo>
                  <a:close/>
                  <a:moveTo>
                    <a:pt x="0" y="17"/>
                  </a:moveTo>
                  <a:cubicBezTo>
                    <a:pt x="0" y="22"/>
                    <a:pt x="0" y="28"/>
                    <a:pt x="8" y="28"/>
                  </a:cubicBezTo>
                  <a:cubicBezTo>
                    <a:pt x="13" y="28"/>
                    <a:pt x="16" y="26"/>
                    <a:pt x="16" y="20"/>
                  </a:cubicBezTo>
                  <a:cubicBezTo>
                    <a:pt x="16" y="19"/>
                    <a:pt x="15" y="17"/>
                    <a:pt x="13" y="17"/>
                  </a:cubicBezTo>
                  <a:cubicBezTo>
                    <a:pt x="11" y="17"/>
                    <a:pt x="11" y="19"/>
                    <a:pt x="11" y="22"/>
                  </a:cubicBezTo>
                  <a:cubicBezTo>
                    <a:pt x="11" y="23"/>
                    <a:pt x="9" y="24"/>
                    <a:pt x="8" y="24"/>
                  </a:cubicBezTo>
                  <a:cubicBezTo>
                    <a:pt x="5" y="24"/>
                    <a:pt x="5" y="21"/>
                    <a:pt x="5" y="1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0" y="5"/>
                    <a:pt x="11" y="7"/>
                  </a:cubicBezTo>
                  <a:cubicBezTo>
                    <a:pt x="11" y="9"/>
                    <a:pt x="11" y="10"/>
                    <a:pt x="13" y="10"/>
                  </a:cubicBezTo>
                  <a:cubicBezTo>
                    <a:pt x="15" y="10"/>
                    <a:pt x="16" y="9"/>
                    <a:pt x="16" y="7"/>
                  </a:cubicBezTo>
                  <a:cubicBezTo>
                    <a:pt x="16" y="3"/>
                    <a:pt x="13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EFBF674-335D-46E8-B577-6455D2E0CA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849737" y="19740"/>
            <a:ext cx="5934" cy="2437710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EF3BC846-693E-4C68-BD9B-4DB11EB6504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E4956182-64F5-4416-84BF-23AF7008CA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70279" y="3016498"/>
            <a:ext cx="2347442" cy="825003"/>
          </a:xfrm>
        </p:spPr>
        <p:txBody>
          <a:bodyPr anchor="ctr"/>
          <a:lstStyle>
            <a:lvl1pPr algn="ctr">
              <a:lnSpc>
                <a:spcPct val="100000"/>
              </a:lnSpc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ANK</a:t>
            </a:r>
            <a:br>
              <a:rPr lang="en-US"/>
            </a:br>
            <a:r>
              <a:rPr lang="en-US"/>
              <a:t>YOU!</a:t>
            </a:r>
          </a:p>
        </p:txBody>
      </p:sp>
    </p:spTree>
    <p:extLst>
      <p:ext uri="{BB962C8B-B14F-4D97-AF65-F5344CB8AC3E}">
        <p14:creationId xmlns:p14="http://schemas.microsoft.com/office/powerpoint/2010/main" val="761848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ong title e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B4965BE2-46B9-4B33-9042-13AEB39816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2500" y="2528316"/>
            <a:ext cx="2421576" cy="1801368"/>
            <a:chOff x="3770" y="1616"/>
            <a:chExt cx="1757" cy="1307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40FB85C0-A298-4BAD-A5D1-79197607242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770" y="1616"/>
              <a:ext cx="1757" cy="1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4B2A789-8131-49A2-8008-89244AD931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0" y="1616"/>
              <a:ext cx="651" cy="1307"/>
            </a:xfrm>
            <a:custGeom>
              <a:avLst/>
              <a:gdLst>
                <a:gd name="T0" fmla="*/ 156 w 165"/>
                <a:gd name="T1" fmla="*/ 232 h 331"/>
                <a:gd name="T2" fmla="*/ 145 w 165"/>
                <a:gd name="T3" fmla="*/ 243 h 331"/>
                <a:gd name="T4" fmla="*/ 140 w 165"/>
                <a:gd name="T5" fmla="*/ 243 h 331"/>
                <a:gd name="T6" fmla="*/ 129 w 165"/>
                <a:gd name="T7" fmla="*/ 232 h 331"/>
                <a:gd name="T8" fmla="*/ 129 w 165"/>
                <a:gd name="T9" fmla="*/ 88 h 331"/>
                <a:gd name="T10" fmla="*/ 145 w 165"/>
                <a:gd name="T11" fmla="*/ 88 h 331"/>
                <a:gd name="T12" fmla="*/ 156 w 165"/>
                <a:gd name="T13" fmla="*/ 99 h 331"/>
                <a:gd name="T14" fmla="*/ 156 w 165"/>
                <a:gd name="T15" fmla="*/ 232 h 331"/>
                <a:gd name="T16" fmla="*/ 113 w 165"/>
                <a:gd name="T17" fmla="*/ 232 h 331"/>
                <a:gd name="T18" fmla="*/ 102 w 165"/>
                <a:gd name="T19" fmla="*/ 243 h 331"/>
                <a:gd name="T20" fmla="*/ 96 w 165"/>
                <a:gd name="T21" fmla="*/ 243 h 331"/>
                <a:gd name="T22" fmla="*/ 85 w 165"/>
                <a:gd name="T23" fmla="*/ 232 h 331"/>
                <a:gd name="T24" fmla="*/ 85 w 165"/>
                <a:gd name="T25" fmla="*/ 88 h 331"/>
                <a:gd name="T26" fmla="*/ 102 w 165"/>
                <a:gd name="T27" fmla="*/ 88 h 331"/>
                <a:gd name="T28" fmla="*/ 113 w 165"/>
                <a:gd name="T29" fmla="*/ 99 h 331"/>
                <a:gd name="T30" fmla="*/ 113 w 165"/>
                <a:gd name="T31" fmla="*/ 232 h 331"/>
                <a:gd name="T32" fmla="*/ 69 w 165"/>
                <a:gd name="T33" fmla="*/ 232 h 331"/>
                <a:gd name="T34" fmla="*/ 58 w 165"/>
                <a:gd name="T35" fmla="*/ 243 h 331"/>
                <a:gd name="T36" fmla="*/ 53 w 165"/>
                <a:gd name="T37" fmla="*/ 243 h 331"/>
                <a:gd name="T38" fmla="*/ 42 w 165"/>
                <a:gd name="T39" fmla="*/ 232 h 331"/>
                <a:gd name="T40" fmla="*/ 42 w 165"/>
                <a:gd name="T41" fmla="*/ 88 h 331"/>
                <a:gd name="T42" fmla="*/ 58 w 165"/>
                <a:gd name="T43" fmla="*/ 88 h 331"/>
                <a:gd name="T44" fmla="*/ 69 w 165"/>
                <a:gd name="T45" fmla="*/ 99 h 331"/>
                <a:gd name="T46" fmla="*/ 69 w 165"/>
                <a:gd name="T47" fmla="*/ 232 h 331"/>
                <a:gd name="T48" fmla="*/ 165 w 165"/>
                <a:gd name="T49" fmla="*/ 331 h 331"/>
                <a:gd name="T50" fmla="*/ 165 w 165"/>
                <a:gd name="T51" fmla="*/ 0 h 331"/>
                <a:gd name="T52" fmla="*/ 0 w 165"/>
                <a:gd name="T53" fmla="*/ 166 h 331"/>
                <a:gd name="T54" fmla="*/ 165 w 165"/>
                <a:gd name="T55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5" h="331">
                  <a:moveTo>
                    <a:pt x="156" y="232"/>
                  </a:moveTo>
                  <a:cubicBezTo>
                    <a:pt x="156" y="243"/>
                    <a:pt x="145" y="243"/>
                    <a:pt x="145" y="243"/>
                  </a:cubicBezTo>
                  <a:cubicBezTo>
                    <a:pt x="140" y="243"/>
                    <a:pt x="140" y="243"/>
                    <a:pt x="140" y="243"/>
                  </a:cubicBezTo>
                  <a:cubicBezTo>
                    <a:pt x="129" y="243"/>
                    <a:pt x="129" y="232"/>
                    <a:pt x="129" y="232"/>
                  </a:cubicBezTo>
                  <a:cubicBezTo>
                    <a:pt x="129" y="88"/>
                    <a:pt x="129" y="88"/>
                    <a:pt x="129" y="88"/>
                  </a:cubicBezTo>
                  <a:cubicBezTo>
                    <a:pt x="145" y="88"/>
                    <a:pt x="145" y="88"/>
                    <a:pt x="145" y="88"/>
                  </a:cubicBezTo>
                  <a:cubicBezTo>
                    <a:pt x="156" y="88"/>
                    <a:pt x="156" y="99"/>
                    <a:pt x="156" y="99"/>
                  </a:cubicBezTo>
                  <a:lnTo>
                    <a:pt x="156" y="232"/>
                  </a:lnTo>
                  <a:close/>
                  <a:moveTo>
                    <a:pt x="113" y="232"/>
                  </a:moveTo>
                  <a:cubicBezTo>
                    <a:pt x="113" y="243"/>
                    <a:pt x="102" y="243"/>
                    <a:pt x="102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85" y="243"/>
                    <a:pt x="85" y="232"/>
                    <a:pt x="85" y="232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102" y="88"/>
                    <a:pt x="102" y="88"/>
                    <a:pt x="102" y="88"/>
                  </a:cubicBezTo>
                  <a:cubicBezTo>
                    <a:pt x="113" y="88"/>
                    <a:pt x="113" y="99"/>
                    <a:pt x="113" y="99"/>
                  </a:cubicBezTo>
                  <a:lnTo>
                    <a:pt x="113" y="232"/>
                  </a:lnTo>
                  <a:close/>
                  <a:moveTo>
                    <a:pt x="69" y="232"/>
                  </a:moveTo>
                  <a:cubicBezTo>
                    <a:pt x="69" y="243"/>
                    <a:pt x="58" y="243"/>
                    <a:pt x="58" y="243"/>
                  </a:cubicBezTo>
                  <a:cubicBezTo>
                    <a:pt x="53" y="243"/>
                    <a:pt x="53" y="243"/>
                    <a:pt x="53" y="243"/>
                  </a:cubicBezTo>
                  <a:cubicBezTo>
                    <a:pt x="42" y="243"/>
                    <a:pt x="42" y="232"/>
                    <a:pt x="42" y="232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69" y="88"/>
                    <a:pt x="69" y="99"/>
                    <a:pt x="69" y="99"/>
                  </a:cubicBezTo>
                  <a:lnTo>
                    <a:pt x="69" y="232"/>
                  </a:lnTo>
                  <a:close/>
                  <a:moveTo>
                    <a:pt x="165" y="331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74" y="0"/>
                    <a:pt x="0" y="74"/>
                    <a:pt x="0" y="166"/>
                  </a:cubicBezTo>
                  <a:cubicBezTo>
                    <a:pt x="0" y="257"/>
                    <a:pt x="74" y="331"/>
                    <a:pt x="165" y="33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00FEC83-2102-4026-ACC1-62E3D247EA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" y="1963"/>
              <a:ext cx="106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47D89E9-B938-4968-80B0-60A612197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5" y="1963"/>
              <a:ext cx="110" cy="612"/>
            </a:xfrm>
            <a:custGeom>
              <a:avLst/>
              <a:gdLst>
                <a:gd name="T0" fmla="*/ 0 w 28"/>
                <a:gd name="T1" fmla="*/ 0 h 155"/>
                <a:gd name="T2" fmla="*/ 0 w 28"/>
                <a:gd name="T3" fmla="*/ 144 h 155"/>
                <a:gd name="T4" fmla="*/ 11 w 28"/>
                <a:gd name="T5" fmla="*/ 155 h 155"/>
                <a:gd name="T6" fmla="*/ 17 w 28"/>
                <a:gd name="T7" fmla="*/ 155 h 155"/>
                <a:gd name="T8" fmla="*/ 28 w 28"/>
                <a:gd name="T9" fmla="*/ 144 h 155"/>
                <a:gd name="T10" fmla="*/ 28 w 28"/>
                <a:gd name="T11" fmla="*/ 11 h 155"/>
                <a:gd name="T12" fmla="*/ 17 w 28"/>
                <a:gd name="T13" fmla="*/ 0 h 155"/>
                <a:gd name="T14" fmla="*/ 0 w 28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155"/>
                    <a:pt x="28" y="155"/>
                    <a:pt x="28" y="144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0"/>
                    <a:pt x="1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E3ABF98-0B4D-497A-9FCE-CC29E9025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08" y="1963"/>
              <a:ext cx="107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887A959A-F825-4F91-A1ED-C4CE356F64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658"/>
              <a:ext cx="1066" cy="111"/>
            </a:xfrm>
            <a:custGeom>
              <a:avLst/>
              <a:gdLst>
                <a:gd name="T0" fmla="*/ 270 w 270"/>
                <a:gd name="T1" fmla="*/ 26 h 28"/>
                <a:gd name="T2" fmla="*/ 265 w 270"/>
                <a:gd name="T3" fmla="*/ 11 h 28"/>
                <a:gd name="T4" fmla="*/ 254 w 270"/>
                <a:gd name="T5" fmla="*/ 3 h 28"/>
                <a:gd name="T6" fmla="*/ 259 w 270"/>
                <a:gd name="T7" fmla="*/ 15 h 28"/>
                <a:gd name="T8" fmla="*/ 233 w 270"/>
                <a:gd name="T9" fmla="*/ 5 h 28"/>
                <a:gd name="T10" fmla="*/ 242 w 270"/>
                <a:gd name="T11" fmla="*/ 26 h 28"/>
                <a:gd name="T12" fmla="*/ 246 w 270"/>
                <a:gd name="T13" fmla="*/ 1 h 28"/>
                <a:gd name="T14" fmla="*/ 219 w 270"/>
                <a:gd name="T15" fmla="*/ 0 h 28"/>
                <a:gd name="T16" fmla="*/ 229 w 270"/>
                <a:gd name="T17" fmla="*/ 28 h 28"/>
                <a:gd name="T18" fmla="*/ 199 w 270"/>
                <a:gd name="T19" fmla="*/ 17 h 28"/>
                <a:gd name="T20" fmla="*/ 199 w 270"/>
                <a:gd name="T21" fmla="*/ 17 h 28"/>
                <a:gd name="T22" fmla="*/ 211 w 270"/>
                <a:gd name="T23" fmla="*/ 26 h 28"/>
                <a:gd name="T24" fmla="*/ 197 w 270"/>
                <a:gd name="T25" fmla="*/ 4 h 28"/>
                <a:gd name="T26" fmla="*/ 197 w 270"/>
                <a:gd name="T27" fmla="*/ 26 h 28"/>
                <a:gd name="T28" fmla="*/ 183 w 270"/>
                <a:gd name="T29" fmla="*/ 16 h 28"/>
                <a:gd name="T30" fmla="*/ 176 w 270"/>
                <a:gd name="T31" fmla="*/ 5 h 28"/>
                <a:gd name="T32" fmla="*/ 174 w 270"/>
                <a:gd name="T33" fmla="*/ 1 h 28"/>
                <a:gd name="T34" fmla="*/ 184 w 270"/>
                <a:gd name="T35" fmla="*/ 28 h 28"/>
                <a:gd name="T36" fmla="*/ 176 w 270"/>
                <a:gd name="T37" fmla="*/ 16 h 28"/>
                <a:gd name="T38" fmla="*/ 163 w 270"/>
                <a:gd name="T39" fmla="*/ 26 h 28"/>
                <a:gd name="T40" fmla="*/ 158 w 270"/>
                <a:gd name="T41" fmla="*/ 11 h 28"/>
                <a:gd name="T42" fmla="*/ 147 w 270"/>
                <a:gd name="T43" fmla="*/ 3 h 28"/>
                <a:gd name="T44" fmla="*/ 152 w 270"/>
                <a:gd name="T45" fmla="*/ 15 h 28"/>
                <a:gd name="T46" fmla="*/ 115 w 270"/>
                <a:gd name="T47" fmla="*/ 0 h 28"/>
                <a:gd name="T48" fmla="*/ 125 w 270"/>
                <a:gd name="T49" fmla="*/ 28 h 28"/>
                <a:gd name="T50" fmla="*/ 94 w 270"/>
                <a:gd name="T51" fmla="*/ 17 h 28"/>
                <a:gd name="T52" fmla="*/ 94 w 270"/>
                <a:gd name="T53" fmla="*/ 17 h 28"/>
                <a:gd name="T54" fmla="*/ 106 w 270"/>
                <a:gd name="T55" fmla="*/ 26 h 28"/>
                <a:gd name="T56" fmla="*/ 93 w 270"/>
                <a:gd name="T57" fmla="*/ 4 h 28"/>
                <a:gd name="T58" fmla="*/ 93 w 270"/>
                <a:gd name="T59" fmla="*/ 26 h 28"/>
                <a:gd name="T60" fmla="*/ 74 w 270"/>
                <a:gd name="T61" fmla="*/ 4 h 28"/>
                <a:gd name="T62" fmla="*/ 71 w 270"/>
                <a:gd name="T63" fmla="*/ 4 h 28"/>
                <a:gd name="T64" fmla="*/ 74 w 270"/>
                <a:gd name="T65" fmla="*/ 24 h 28"/>
                <a:gd name="T66" fmla="*/ 69 w 270"/>
                <a:gd name="T67" fmla="*/ 28 h 28"/>
                <a:gd name="T68" fmla="*/ 81 w 270"/>
                <a:gd name="T69" fmla="*/ 8 h 28"/>
                <a:gd name="T70" fmla="*/ 66 w 270"/>
                <a:gd name="T71" fmla="*/ 25 h 28"/>
                <a:gd name="T72" fmla="*/ 54 w 270"/>
                <a:gd name="T73" fmla="*/ 17 h 28"/>
                <a:gd name="T74" fmla="*/ 42 w 270"/>
                <a:gd name="T75" fmla="*/ 17 h 28"/>
                <a:gd name="T76" fmla="*/ 51 w 270"/>
                <a:gd name="T77" fmla="*/ 0 h 28"/>
                <a:gd name="T78" fmla="*/ 28 w 270"/>
                <a:gd name="T79" fmla="*/ 3 h 28"/>
                <a:gd name="T80" fmla="*/ 26 w 270"/>
                <a:gd name="T81" fmla="*/ 28 h 28"/>
                <a:gd name="T82" fmla="*/ 28 w 270"/>
                <a:gd name="T83" fmla="*/ 23 h 28"/>
                <a:gd name="T84" fmla="*/ 7 w 270"/>
                <a:gd name="T85" fmla="*/ 15 h 28"/>
                <a:gd name="T86" fmla="*/ 8 w 270"/>
                <a:gd name="T87" fmla="*/ 24 h 28"/>
                <a:gd name="T88" fmla="*/ 11 w 270"/>
                <a:gd name="T89" fmla="*/ 6 h 28"/>
                <a:gd name="T90" fmla="*/ 0 w 270"/>
                <a:gd name="T91" fmla="*/ 12 h 28"/>
                <a:gd name="T92" fmla="*/ 12 w 270"/>
                <a:gd name="T93" fmla="*/ 25 h 28"/>
                <a:gd name="T94" fmla="*/ 16 w 270"/>
                <a:gd name="T95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0" h="28">
                  <a:moveTo>
                    <a:pt x="265" y="15"/>
                  </a:moveTo>
                  <a:cubicBezTo>
                    <a:pt x="265" y="26"/>
                    <a:pt x="265" y="26"/>
                    <a:pt x="265" y="26"/>
                  </a:cubicBezTo>
                  <a:cubicBezTo>
                    <a:pt x="265" y="27"/>
                    <a:pt x="267" y="28"/>
                    <a:pt x="268" y="28"/>
                  </a:cubicBezTo>
                  <a:cubicBezTo>
                    <a:pt x="269" y="28"/>
                    <a:pt x="270" y="27"/>
                    <a:pt x="270" y="26"/>
                  </a:cubicBezTo>
                  <a:cubicBezTo>
                    <a:pt x="270" y="3"/>
                    <a:pt x="270" y="3"/>
                    <a:pt x="270" y="3"/>
                  </a:cubicBezTo>
                  <a:cubicBezTo>
                    <a:pt x="270" y="1"/>
                    <a:pt x="269" y="0"/>
                    <a:pt x="268" y="0"/>
                  </a:cubicBezTo>
                  <a:cubicBezTo>
                    <a:pt x="267" y="0"/>
                    <a:pt x="265" y="1"/>
                    <a:pt x="265" y="3"/>
                  </a:cubicBezTo>
                  <a:cubicBezTo>
                    <a:pt x="265" y="11"/>
                    <a:pt x="265" y="11"/>
                    <a:pt x="265" y="11"/>
                  </a:cubicBezTo>
                  <a:cubicBezTo>
                    <a:pt x="259" y="11"/>
                    <a:pt x="259" y="11"/>
                    <a:pt x="259" y="11"/>
                  </a:cubicBezTo>
                  <a:cubicBezTo>
                    <a:pt x="259" y="3"/>
                    <a:pt x="259" y="3"/>
                    <a:pt x="259" y="3"/>
                  </a:cubicBezTo>
                  <a:cubicBezTo>
                    <a:pt x="259" y="1"/>
                    <a:pt x="258" y="0"/>
                    <a:pt x="256" y="0"/>
                  </a:cubicBezTo>
                  <a:cubicBezTo>
                    <a:pt x="255" y="0"/>
                    <a:pt x="254" y="1"/>
                    <a:pt x="254" y="3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54" y="27"/>
                    <a:pt x="255" y="28"/>
                    <a:pt x="256" y="28"/>
                  </a:cubicBezTo>
                  <a:cubicBezTo>
                    <a:pt x="258" y="28"/>
                    <a:pt x="259" y="27"/>
                    <a:pt x="259" y="26"/>
                  </a:cubicBezTo>
                  <a:cubicBezTo>
                    <a:pt x="259" y="15"/>
                    <a:pt x="259" y="15"/>
                    <a:pt x="259" y="15"/>
                  </a:cubicBezTo>
                  <a:lnTo>
                    <a:pt x="265" y="15"/>
                  </a:lnTo>
                  <a:close/>
                  <a:moveTo>
                    <a:pt x="233" y="1"/>
                  </a:moveTo>
                  <a:cubicBezTo>
                    <a:pt x="231" y="1"/>
                    <a:pt x="231" y="2"/>
                    <a:pt x="231" y="3"/>
                  </a:cubicBezTo>
                  <a:cubicBezTo>
                    <a:pt x="231" y="4"/>
                    <a:pt x="231" y="5"/>
                    <a:pt x="233" y="5"/>
                  </a:cubicBezTo>
                  <a:cubicBezTo>
                    <a:pt x="237" y="5"/>
                    <a:pt x="237" y="5"/>
                    <a:pt x="237" y="5"/>
                  </a:cubicBezTo>
                  <a:cubicBezTo>
                    <a:pt x="237" y="26"/>
                    <a:pt x="237" y="26"/>
                    <a:pt x="237" y="26"/>
                  </a:cubicBezTo>
                  <a:cubicBezTo>
                    <a:pt x="237" y="27"/>
                    <a:pt x="238" y="28"/>
                    <a:pt x="240" y="28"/>
                  </a:cubicBezTo>
                  <a:cubicBezTo>
                    <a:pt x="241" y="28"/>
                    <a:pt x="242" y="27"/>
                    <a:pt x="242" y="26"/>
                  </a:cubicBezTo>
                  <a:cubicBezTo>
                    <a:pt x="242" y="5"/>
                    <a:pt x="242" y="5"/>
                    <a:pt x="242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8" y="5"/>
                    <a:pt x="249" y="4"/>
                    <a:pt x="249" y="3"/>
                  </a:cubicBezTo>
                  <a:cubicBezTo>
                    <a:pt x="249" y="2"/>
                    <a:pt x="248" y="1"/>
                    <a:pt x="246" y="1"/>
                  </a:cubicBezTo>
                  <a:lnTo>
                    <a:pt x="233" y="1"/>
                  </a:lnTo>
                  <a:close/>
                  <a:moveTo>
                    <a:pt x="222" y="23"/>
                  </a:moveTo>
                  <a:cubicBezTo>
                    <a:pt x="222" y="3"/>
                    <a:pt x="222" y="3"/>
                    <a:pt x="222" y="3"/>
                  </a:cubicBezTo>
                  <a:cubicBezTo>
                    <a:pt x="222" y="1"/>
                    <a:pt x="221" y="0"/>
                    <a:pt x="219" y="0"/>
                  </a:cubicBezTo>
                  <a:cubicBezTo>
                    <a:pt x="218" y="0"/>
                    <a:pt x="217" y="1"/>
                    <a:pt x="217" y="3"/>
                  </a:cubicBezTo>
                  <a:cubicBezTo>
                    <a:pt x="217" y="25"/>
                    <a:pt x="217" y="25"/>
                    <a:pt x="217" y="25"/>
                  </a:cubicBezTo>
                  <a:cubicBezTo>
                    <a:pt x="217" y="27"/>
                    <a:pt x="218" y="28"/>
                    <a:pt x="220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31" y="28"/>
                    <a:pt x="232" y="27"/>
                    <a:pt x="232" y="25"/>
                  </a:cubicBezTo>
                  <a:cubicBezTo>
                    <a:pt x="232" y="24"/>
                    <a:pt x="231" y="23"/>
                    <a:pt x="229" y="23"/>
                  </a:cubicBezTo>
                  <a:lnTo>
                    <a:pt x="222" y="23"/>
                  </a:lnTo>
                  <a:close/>
                  <a:moveTo>
                    <a:pt x="199" y="17"/>
                  </a:moveTo>
                  <a:cubicBezTo>
                    <a:pt x="201" y="6"/>
                    <a:pt x="201" y="6"/>
                    <a:pt x="201" y="6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4" y="17"/>
                    <a:pt x="204" y="17"/>
                    <a:pt x="204" y="17"/>
                  </a:cubicBezTo>
                  <a:lnTo>
                    <a:pt x="199" y="17"/>
                  </a:lnTo>
                  <a:close/>
                  <a:moveTo>
                    <a:pt x="204" y="21"/>
                  </a:moveTo>
                  <a:cubicBezTo>
                    <a:pt x="205" y="25"/>
                    <a:pt x="205" y="25"/>
                    <a:pt x="205" y="25"/>
                  </a:cubicBezTo>
                  <a:cubicBezTo>
                    <a:pt x="206" y="27"/>
                    <a:pt x="206" y="28"/>
                    <a:pt x="208" y="28"/>
                  </a:cubicBezTo>
                  <a:cubicBezTo>
                    <a:pt x="209" y="28"/>
                    <a:pt x="211" y="27"/>
                    <a:pt x="211" y="26"/>
                  </a:cubicBezTo>
                  <a:cubicBezTo>
                    <a:pt x="211" y="25"/>
                    <a:pt x="210" y="25"/>
                    <a:pt x="210" y="24"/>
                  </a:cubicBezTo>
                  <a:cubicBezTo>
                    <a:pt x="206" y="4"/>
                    <a:pt x="206" y="4"/>
                    <a:pt x="206" y="4"/>
                  </a:cubicBezTo>
                  <a:cubicBezTo>
                    <a:pt x="205" y="1"/>
                    <a:pt x="204" y="0"/>
                    <a:pt x="201" y="0"/>
                  </a:cubicBezTo>
                  <a:cubicBezTo>
                    <a:pt x="199" y="0"/>
                    <a:pt x="198" y="1"/>
                    <a:pt x="197" y="4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2" y="25"/>
                    <a:pt x="192" y="25"/>
                    <a:pt x="192" y="26"/>
                  </a:cubicBezTo>
                  <a:cubicBezTo>
                    <a:pt x="192" y="27"/>
                    <a:pt x="193" y="28"/>
                    <a:pt x="195" y="28"/>
                  </a:cubicBezTo>
                  <a:cubicBezTo>
                    <a:pt x="196" y="28"/>
                    <a:pt x="197" y="27"/>
                    <a:pt x="197" y="26"/>
                  </a:cubicBezTo>
                  <a:cubicBezTo>
                    <a:pt x="198" y="21"/>
                    <a:pt x="198" y="21"/>
                    <a:pt x="198" y="21"/>
                  </a:cubicBezTo>
                  <a:lnTo>
                    <a:pt x="204" y="21"/>
                  </a:lnTo>
                  <a:close/>
                  <a:moveTo>
                    <a:pt x="176" y="16"/>
                  </a:moveTo>
                  <a:cubicBezTo>
                    <a:pt x="183" y="16"/>
                    <a:pt x="183" y="16"/>
                    <a:pt x="183" y="16"/>
                  </a:cubicBezTo>
                  <a:cubicBezTo>
                    <a:pt x="185" y="16"/>
                    <a:pt x="186" y="15"/>
                    <a:pt x="186" y="14"/>
                  </a:cubicBezTo>
                  <a:cubicBezTo>
                    <a:pt x="186" y="12"/>
                    <a:pt x="185" y="11"/>
                    <a:pt x="183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6" y="5"/>
                    <a:pt x="176" y="5"/>
                    <a:pt x="176" y="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86" y="5"/>
                    <a:pt x="186" y="4"/>
                    <a:pt x="186" y="3"/>
                  </a:cubicBezTo>
                  <a:cubicBezTo>
                    <a:pt x="186" y="2"/>
                    <a:pt x="186" y="1"/>
                    <a:pt x="184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2" y="1"/>
                    <a:pt x="171" y="2"/>
                    <a:pt x="171" y="3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7"/>
                    <a:pt x="172" y="28"/>
                    <a:pt x="174" y="28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6" y="28"/>
                    <a:pt x="187" y="27"/>
                    <a:pt x="187" y="25"/>
                  </a:cubicBezTo>
                  <a:cubicBezTo>
                    <a:pt x="187" y="24"/>
                    <a:pt x="186" y="23"/>
                    <a:pt x="184" y="23"/>
                  </a:cubicBezTo>
                  <a:cubicBezTo>
                    <a:pt x="176" y="23"/>
                    <a:pt x="176" y="23"/>
                    <a:pt x="176" y="23"/>
                  </a:cubicBezTo>
                  <a:lnTo>
                    <a:pt x="176" y="16"/>
                  </a:lnTo>
                  <a:close/>
                  <a:moveTo>
                    <a:pt x="158" y="15"/>
                  </a:moveTo>
                  <a:cubicBezTo>
                    <a:pt x="158" y="26"/>
                    <a:pt x="158" y="26"/>
                    <a:pt x="158" y="26"/>
                  </a:cubicBezTo>
                  <a:cubicBezTo>
                    <a:pt x="158" y="27"/>
                    <a:pt x="160" y="28"/>
                    <a:pt x="161" y="28"/>
                  </a:cubicBezTo>
                  <a:cubicBezTo>
                    <a:pt x="162" y="28"/>
                    <a:pt x="163" y="27"/>
                    <a:pt x="163" y="26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1"/>
                    <a:pt x="162" y="0"/>
                    <a:pt x="161" y="0"/>
                  </a:cubicBezTo>
                  <a:cubicBezTo>
                    <a:pt x="160" y="0"/>
                    <a:pt x="158" y="1"/>
                    <a:pt x="158" y="3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1"/>
                    <a:pt x="151" y="0"/>
                    <a:pt x="149" y="0"/>
                  </a:cubicBezTo>
                  <a:cubicBezTo>
                    <a:pt x="148" y="0"/>
                    <a:pt x="147" y="1"/>
                    <a:pt x="147" y="3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7" y="27"/>
                    <a:pt x="148" y="28"/>
                    <a:pt x="149" y="28"/>
                  </a:cubicBezTo>
                  <a:cubicBezTo>
                    <a:pt x="151" y="28"/>
                    <a:pt x="152" y="27"/>
                    <a:pt x="152" y="26"/>
                  </a:cubicBezTo>
                  <a:cubicBezTo>
                    <a:pt x="152" y="15"/>
                    <a:pt x="152" y="15"/>
                    <a:pt x="152" y="15"/>
                  </a:cubicBezTo>
                  <a:lnTo>
                    <a:pt x="158" y="15"/>
                  </a:lnTo>
                  <a:close/>
                  <a:moveTo>
                    <a:pt x="117" y="23"/>
                  </a:moveTo>
                  <a:cubicBezTo>
                    <a:pt x="117" y="3"/>
                    <a:pt x="117" y="3"/>
                    <a:pt x="117" y="3"/>
                  </a:cubicBezTo>
                  <a:cubicBezTo>
                    <a:pt x="117" y="1"/>
                    <a:pt x="116" y="0"/>
                    <a:pt x="115" y="0"/>
                  </a:cubicBezTo>
                  <a:cubicBezTo>
                    <a:pt x="114" y="0"/>
                    <a:pt x="112" y="1"/>
                    <a:pt x="112" y="3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12" y="27"/>
                    <a:pt x="113" y="28"/>
                    <a:pt x="115" y="28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7" y="28"/>
                    <a:pt x="128" y="27"/>
                    <a:pt x="128" y="25"/>
                  </a:cubicBezTo>
                  <a:cubicBezTo>
                    <a:pt x="128" y="24"/>
                    <a:pt x="127" y="23"/>
                    <a:pt x="125" y="23"/>
                  </a:cubicBezTo>
                  <a:lnTo>
                    <a:pt x="117" y="23"/>
                  </a:lnTo>
                  <a:close/>
                  <a:moveTo>
                    <a:pt x="94" y="17"/>
                  </a:moveTo>
                  <a:cubicBezTo>
                    <a:pt x="97" y="6"/>
                    <a:pt x="97" y="6"/>
                    <a:pt x="97" y="6"/>
                  </a:cubicBezTo>
                  <a:cubicBezTo>
                    <a:pt x="97" y="6"/>
                    <a:pt x="97" y="6"/>
                    <a:pt x="97" y="6"/>
                  </a:cubicBezTo>
                  <a:cubicBezTo>
                    <a:pt x="99" y="17"/>
                    <a:pt x="99" y="17"/>
                    <a:pt x="99" y="17"/>
                  </a:cubicBezTo>
                  <a:lnTo>
                    <a:pt x="94" y="17"/>
                  </a:lnTo>
                  <a:close/>
                  <a:moveTo>
                    <a:pt x="100" y="21"/>
                  </a:moveTo>
                  <a:cubicBezTo>
                    <a:pt x="101" y="25"/>
                    <a:pt x="101" y="25"/>
                    <a:pt x="101" y="25"/>
                  </a:cubicBezTo>
                  <a:cubicBezTo>
                    <a:pt x="101" y="27"/>
                    <a:pt x="102" y="28"/>
                    <a:pt x="104" y="28"/>
                  </a:cubicBezTo>
                  <a:cubicBezTo>
                    <a:pt x="105" y="28"/>
                    <a:pt x="106" y="27"/>
                    <a:pt x="106" y="26"/>
                  </a:cubicBezTo>
                  <a:cubicBezTo>
                    <a:pt x="106" y="25"/>
                    <a:pt x="106" y="25"/>
                    <a:pt x="106" y="2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0" y="1"/>
                    <a:pt x="99" y="0"/>
                    <a:pt x="97" y="0"/>
                  </a:cubicBezTo>
                  <a:cubicBezTo>
                    <a:pt x="94" y="0"/>
                    <a:pt x="93" y="1"/>
                    <a:pt x="93" y="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25"/>
                    <a:pt x="88" y="25"/>
                    <a:pt x="88" y="26"/>
                  </a:cubicBezTo>
                  <a:cubicBezTo>
                    <a:pt x="88" y="27"/>
                    <a:pt x="88" y="28"/>
                    <a:pt x="90" y="28"/>
                  </a:cubicBezTo>
                  <a:cubicBezTo>
                    <a:pt x="92" y="28"/>
                    <a:pt x="92" y="27"/>
                    <a:pt x="93" y="26"/>
                  </a:cubicBezTo>
                  <a:cubicBezTo>
                    <a:pt x="94" y="21"/>
                    <a:pt x="94" y="21"/>
                    <a:pt x="94" y="21"/>
                  </a:cubicBezTo>
                  <a:lnTo>
                    <a:pt x="100" y="21"/>
                  </a:lnTo>
                  <a:close/>
                  <a:moveTo>
                    <a:pt x="71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5" y="4"/>
                    <a:pt x="76" y="5"/>
                    <a:pt x="76" y="8"/>
                  </a:cubicBezTo>
                  <a:cubicBezTo>
                    <a:pt x="76" y="10"/>
                    <a:pt x="75" y="12"/>
                    <a:pt x="73" y="12"/>
                  </a:cubicBezTo>
                  <a:cubicBezTo>
                    <a:pt x="71" y="12"/>
                    <a:pt x="71" y="12"/>
                    <a:pt x="71" y="12"/>
                  </a:cubicBezTo>
                  <a:lnTo>
                    <a:pt x="71" y="4"/>
                  </a:lnTo>
                  <a:close/>
                  <a:moveTo>
                    <a:pt x="71" y="15"/>
                  </a:moveTo>
                  <a:cubicBezTo>
                    <a:pt x="74" y="15"/>
                    <a:pt x="74" y="15"/>
                    <a:pt x="74" y="15"/>
                  </a:cubicBezTo>
                  <a:cubicBezTo>
                    <a:pt x="76" y="15"/>
                    <a:pt x="77" y="17"/>
                    <a:pt x="77" y="19"/>
                  </a:cubicBezTo>
                  <a:cubicBezTo>
                    <a:pt x="77" y="22"/>
                    <a:pt x="76" y="24"/>
                    <a:pt x="74" y="24"/>
                  </a:cubicBezTo>
                  <a:cubicBezTo>
                    <a:pt x="71" y="24"/>
                    <a:pt x="71" y="24"/>
                    <a:pt x="71" y="24"/>
                  </a:cubicBezTo>
                  <a:lnTo>
                    <a:pt x="71" y="15"/>
                  </a:lnTo>
                  <a:close/>
                  <a:moveTo>
                    <a:pt x="66" y="25"/>
                  </a:moveTo>
                  <a:cubicBezTo>
                    <a:pt x="66" y="27"/>
                    <a:pt x="67" y="28"/>
                    <a:pt x="69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8"/>
                    <a:pt x="82" y="24"/>
                    <a:pt x="82" y="19"/>
                  </a:cubicBezTo>
                  <a:cubicBezTo>
                    <a:pt x="82" y="16"/>
                    <a:pt x="81" y="14"/>
                    <a:pt x="79" y="13"/>
                  </a:cubicBezTo>
                  <a:cubicBezTo>
                    <a:pt x="80" y="13"/>
                    <a:pt x="81" y="10"/>
                    <a:pt x="81" y="8"/>
                  </a:cubicBezTo>
                  <a:cubicBezTo>
                    <a:pt x="81" y="3"/>
                    <a:pt x="80" y="1"/>
                    <a:pt x="75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7" y="1"/>
                    <a:pt x="66" y="2"/>
                    <a:pt x="66" y="3"/>
                  </a:cubicBezTo>
                  <a:lnTo>
                    <a:pt x="66" y="25"/>
                  </a:lnTo>
                  <a:close/>
                  <a:moveTo>
                    <a:pt x="48" y="11"/>
                  </a:moveTo>
                  <a:cubicBezTo>
                    <a:pt x="48" y="5"/>
                    <a:pt x="49" y="4"/>
                    <a:pt x="51" y="4"/>
                  </a:cubicBezTo>
                  <a:cubicBezTo>
                    <a:pt x="52" y="4"/>
                    <a:pt x="54" y="5"/>
                    <a:pt x="54" y="11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23"/>
                    <a:pt x="53" y="24"/>
                    <a:pt x="51" y="24"/>
                  </a:cubicBezTo>
                  <a:cubicBezTo>
                    <a:pt x="48" y="24"/>
                    <a:pt x="48" y="23"/>
                    <a:pt x="48" y="17"/>
                  </a:cubicBezTo>
                  <a:lnTo>
                    <a:pt x="48" y="11"/>
                  </a:lnTo>
                  <a:close/>
                  <a:moveTo>
                    <a:pt x="42" y="17"/>
                  </a:moveTo>
                  <a:cubicBezTo>
                    <a:pt x="42" y="27"/>
                    <a:pt x="46" y="28"/>
                    <a:pt x="51" y="28"/>
                  </a:cubicBezTo>
                  <a:cubicBezTo>
                    <a:pt x="55" y="28"/>
                    <a:pt x="59" y="27"/>
                    <a:pt x="59" y="1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"/>
                    <a:pt x="55" y="0"/>
                    <a:pt x="51" y="0"/>
                  </a:cubicBezTo>
                  <a:cubicBezTo>
                    <a:pt x="46" y="0"/>
                    <a:pt x="42" y="1"/>
                    <a:pt x="42" y="11"/>
                  </a:cubicBezTo>
                  <a:lnTo>
                    <a:pt x="42" y="17"/>
                  </a:lnTo>
                  <a:close/>
                  <a:moveTo>
                    <a:pt x="28" y="2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25" y="0"/>
                    <a:pt x="23" y="1"/>
                    <a:pt x="23" y="3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7"/>
                    <a:pt x="24" y="28"/>
                    <a:pt x="2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8" y="28"/>
                    <a:pt x="39" y="27"/>
                    <a:pt x="39" y="25"/>
                  </a:cubicBezTo>
                  <a:cubicBezTo>
                    <a:pt x="39" y="24"/>
                    <a:pt x="38" y="23"/>
                    <a:pt x="36" y="23"/>
                  </a:cubicBezTo>
                  <a:lnTo>
                    <a:pt x="28" y="23"/>
                  </a:lnTo>
                  <a:close/>
                  <a:moveTo>
                    <a:pt x="16" y="15"/>
                  </a:moveTo>
                  <a:cubicBezTo>
                    <a:pt x="16" y="14"/>
                    <a:pt x="15" y="13"/>
                    <a:pt x="13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7" y="14"/>
                    <a:pt x="7" y="15"/>
                  </a:cubicBezTo>
                  <a:cubicBezTo>
                    <a:pt x="7" y="16"/>
                    <a:pt x="8" y="17"/>
                    <a:pt x="9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10" y="24"/>
                    <a:pt x="8" y="24"/>
                  </a:cubicBezTo>
                  <a:cubicBezTo>
                    <a:pt x="5" y="24"/>
                    <a:pt x="5" y="22"/>
                    <a:pt x="5" y="1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1" y="5"/>
                    <a:pt x="11" y="6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3"/>
                    <a:pt x="14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1" y="28"/>
                    <a:pt x="7" y="28"/>
                  </a:cubicBezTo>
                  <a:cubicBezTo>
                    <a:pt x="9" y="28"/>
                    <a:pt x="11" y="27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3" y="28"/>
                    <a:pt x="14" y="28"/>
                  </a:cubicBezTo>
                  <a:cubicBezTo>
                    <a:pt x="15" y="28"/>
                    <a:pt x="16" y="27"/>
                    <a:pt x="16" y="26"/>
                  </a:cubicBezTo>
                  <a:lnTo>
                    <a:pt x="16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CD37314B-0B2E-4EB0-97A2-01385B517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812"/>
              <a:ext cx="821" cy="111"/>
            </a:xfrm>
            <a:custGeom>
              <a:avLst/>
              <a:gdLst>
                <a:gd name="T0" fmla="*/ 202 w 208"/>
                <a:gd name="T1" fmla="*/ 13 h 28"/>
                <a:gd name="T2" fmla="*/ 204 w 208"/>
                <a:gd name="T3" fmla="*/ 17 h 28"/>
                <a:gd name="T4" fmla="*/ 197 w 208"/>
                <a:gd name="T5" fmla="*/ 15 h 28"/>
                <a:gd name="T6" fmla="*/ 203 w 208"/>
                <a:gd name="T7" fmla="*/ 6 h 28"/>
                <a:gd name="T8" fmla="*/ 201 w 208"/>
                <a:gd name="T9" fmla="*/ 0 h 28"/>
                <a:gd name="T10" fmla="*/ 199 w 208"/>
                <a:gd name="T11" fmla="*/ 28 h 28"/>
                <a:gd name="T12" fmla="*/ 205 w 208"/>
                <a:gd name="T13" fmla="*/ 26 h 28"/>
                <a:gd name="T14" fmla="*/ 208 w 208"/>
                <a:gd name="T15" fmla="*/ 15 h 28"/>
                <a:gd name="T16" fmla="*/ 173 w 208"/>
                <a:gd name="T17" fmla="*/ 25 h 28"/>
                <a:gd name="T18" fmla="*/ 179 w 208"/>
                <a:gd name="T19" fmla="*/ 26 h 28"/>
                <a:gd name="T20" fmla="*/ 185 w 208"/>
                <a:gd name="T21" fmla="*/ 3 h 28"/>
                <a:gd name="T22" fmla="*/ 180 w 208"/>
                <a:gd name="T23" fmla="*/ 17 h 28"/>
                <a:gd name="T24" fmla="*/ 170 w 208"/>
                <a:gd name="T25" fmla="*/ 0 h 28"/>
                <a:gd name="T26" fmla="*/ 154 w 208"/>
                <a:gd name="T27" fmla="*/ 25 h 28"/>
                <a:gd name="T28" fmla="*/ 160 w 208"/>
                <a:gd name="T29" fmla="*/ 3 h 28"/>
                <a:gd name="T30" fmla="*/ 154 w 208"/>
                <a:gd name="T31" fmla="*/ 25 h 28"/>
                <a:gd name="T32" fmla="*/ 134 w 208"/>
                <a:gd name="T33" fmla="*/ 5 h 28"/>
                <a:gd name="T34" fmla="*/ 140 w 208"/>
                <a:gd name="T35" fmla="*/ 28 h 28"/>
                <a:gd name="T36" fmla="*/ 147 w 208"/>
                <a:gd name="T37" fmla="*/ 5 h 28"/>
                <a:gd name="T38" fmla="*/ 134 w 208"/>
                <a:gd name="T39" fmla="*/ 1 h 28"/>
                <a:gd name="T40" fmla="*/ 120 w 208"/>
                <a:gd name="T41" fmla="*/ 0 h 28"/>
                <a:gd name="T42" fmla="*/ 120 w 208"/>
                <a:gd name="T43" fmla="*/ 28 h 28"/>
                <a:gd name="T44" fmla="*/ 130 w 208"/>
                <a:gd name="T45" fmla="*/ 23 h 28"/>
                <a:gd name="T46" fmla="*/ 101 w 208"/>
                <a:gd name="T47" fmla="*/ 28 h 28"/>
                <a:gd name="T48" fmla="*/ 107 w 208"/>
                <a:gd name="T49" fmla="*/ 0 h 28"/>
                <a:gd name="T50" fmla="*/ 101 w 208"/>
                <a:gd name="T51" fmla="*/ 24 h 28"/>
                <a:gd name="T52" fmla="*/ 96 w 208"/>
                <a:gd name="T53" fmla="*/ 0 h 28"/>
                <a:gd name="T54" fmla="*/ 79 w 208"/>
                <a:gd name="T55" fmla="*/ 17 h 28"/>
                <a:gd name="T56" fmla="*/ 75 w 208"/>
                <a:gd name="T57" fmla="*/ 21 h 28"/>
                <a:gd name="T58" fmla="*/ 78 w 208"/>
                <a:gd name="T59" fmla="*/ 28 h 28"/>
                <a:gd name="T60" fmla="*/ 78 w 208"/>
                <a:gd name="T61" fmla="*/ 11 h 28"/>
                <a:gd name="T62" fmla="*/ 81 w 208"/>
                <a:gd name="T63" fmla="*/ 6 h 28"/>
                <a:gd name="T64" fmla="*/ 78 w 208"/>
                <a:gd name="T65" fmla="*/ 0 h 28"/>
                <a:gd name="T66" fmla="*/ 79 w 208"/>
                <a:gd name="T67" fmla="*/ 17 h 28"/>
                <a:gd name="T68" fmla="*/ 51 w 208"/>
                <a:gd name="T69" fmla="*/ 25 h 28"/>
                <a:gd name="T70" fmla="*/ 57 w 208"/>
                <a:gd name="T71" fmla="*/ 26 h 28"/>
                <a:gd name="T72" fmla="*/ 63 w 208"/>
                <a:gd name="T73" fmla="*/ 3 h 28"/>
                <a:gd name="T74" fmla="*/ 58 w 208"/>
                <a:gd name="T75" fmla="*/ 17 h 28"/>
                <a:gd name="T76" fmla="*/ 49 w 208"/>
                <a:gd name="T77" fmla="*/ 0 h 28"/>
                <a:gd name="T78" fmla="*/ 27 w 208"/>
                <a:gd name="T79" fmla="*/ 11 h 28"/>
                <a:gd name="T80" fmla="*/ 33 w 208"/>
                <a:gd name="T81" fmla="*/ 17 h 28"/>
                <a:gd name="T82" fmla="*/ 27 w 208"/>
                <a:gd name="T83" fmla="*/ 11 h 28"/>
                <a:gd name="T84" fmla="*/ 39 w 208"/>
                <a:gd name="T85" fmla="*/ 17 h 28"/>
                <a:gd name="T86" fmla="*/ 22 w 208"/>
                <a:gd name="T87" fmla="*/ 11 h 28"/>
                <a:gd name="T88" fmla="*/ 8 w 208"/>
                <a:gd name="T89" fmla="*/ 28 h 28"/>
                <a:gd name="T90" fmla="*/ 11 w 208"/>
                <a:gd name="T91" fmla="*/ 22 h 28"/>
                <a:gd name="T92" fmla="*/ 5 w 208"/>
                <a:gd name="T93" fmla="*/ 13 h 28"/>
                <a:gd name="T94" fmla="*/ 13 w 208"/>
                <a:gd name="T95" fmla="*/ 10 h 28"/>
                <a:gd name="T96" fmla="*/ 0 w 208"/>
                <a:gd name="T97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8" h="28">
                  <a:moveTo>
                    <a:pt x="208" y="15"/>
                  </a:moveTo>
                  <a:cubicBezTo>
                    <a:pt x="208" y="14"/>
                    <a:pt x="208" y="13"/>
                    <a:pt x="206" y="13"/>
                  </a:cubicBezTo>
                  <a:cubicBezTo>
                    <a:pt x="202" y="13"/>
                    <a:pt x="202" y="13"/>
                    <a:pt x="202" y="13"/>
                  </a:cubicBezTo>
                  <a:cubicBezTo>
                    <a:pt x="200" y="13"/>
                    <a:pt x="200" y="13"/>
                    <a:pt x="200" y="15"/>
                  </a:cubicBezTo>
                  <a:cubicBezTo>
                    <a:pt x="200" y="16"/>
                    <a:pt x="200" y="17"/>
                    <a:pt x="202" y="17"/>
                  </a:cubicBezTo>
                  <a:cubicBezTo>
                    <a:pt x="204" y="17"/>
                    <a:pt x="204" y="17"/>
                    <a:pt x="204" y="17"/>
                  </a:cubicBezTo>
                  <a:cubicBezTo>
                    <a:pt x="204" y="19"/>
                    <a:pt x="204" y="19"/>
                    <a:pt x="204" y="19"/>
                  </a:cubicBezTo>
                  <a:cubicBezTo>
                    <a:pt x="204" y="22"/>
                    <a:pt x="203" y="24"/>
                    <a:pt x="201" y="24"/>
                  </a:cubicBezTo>
                  <a:cubicBezTo>
                    <a:pt x="198" y="24"/>
                    <a:pt x="197" y="22"/>
                    <a:pt x="197" y="15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5"/>
                    <a:pt x="199" y="4"/>
                    <a:pt x="201" y="4"/>
                  </a:cubicBezTo>
                  <a:cubicBezTo>
                    <a:pt x="203" y="4"/>
                    <a:pt x="203" y="5"/>
                    <a:pt x="203" y="6"/>
                  </a:cubicBezTo>
                  <a:cubicBezTo>
                    <a:pt x="204" y="9"/>
                    <a:pt x="204" y="10"/>
                    <a:pt x="206" y="10"/>
                  </a:cubicBezTo>
                  <a:cubicBezTo>
                    <a:pt x="208" y="10"/>
                    <a:pt x="208" y="8"/>
                    <a:pt x="208" y="7"/>
                  </a:cubicBezTo>
                  <a:cubicBezTo>
                    <a:pt x="208" y="3"/>
                    <a:pt x="206" y="0"/>
                    <a:pt x="201" y="0"/>
                  </a:cubicBezTo>
                  <a:cubicBezTo>
                    <a:pt x="195" y="0"/>
                    <a:pt x="192" y="3"/>
                    <a:pt x="192" y="12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23"/>
                    <a:pt x="194" y="28"/>
                    <a:pt x="199" y="28"/>
                  </a:cubicBezTo>
                  <a:cubicBezTo>
                    <a:pt x="202" y="28"/>
                    <a:pt x="203" y="27"/>
                    <a:pt x="204" y="25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6"/>
                    <a:pt x="205" y="26"/>
                    <a:pt x="205" y="26"/>
                  </a:cubicBezTo>
                  <a:cubicBezTo>
                    <a:pt x="205" y="27"/>
                    <a:pt x="205" y="28"/>
                    <a:pt x="207" y="28"/>
                  </a:cubicBezTo>
                  <a:cubicBezTo>
                    <a:pt x="208" y="28"/>
                    <a:pt x="208" y="27"/>
                    <a:pt x="208" y="26"/>
                  </a:cubicBezTo>
                  <a:lnTo>
                    <a:pt x="208" y="15"/>
                  </a:lnTo>
                  <a:close/>
                  <a:moveTo>
                    <a:pt x="168" y="25"/>
                  </a:moveTo>
                  <a:cubicBezTo>
                    <a:pt x="168" y="27"/>
                    <a:pt x="169" y="28"/>
                    <a:pt x="170" y="28"/>
                  </a:cubicBezTo>
                  <a:cubicBezTo>
                    <a:pt x="172" y="28"/>
                    <a:pt x="173" y="27"/>
                    <a:pt x="173" y="25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9" y="26"/>
                    <a:pt x="179" y="26"/>
                    <a:pt x="179" y="26"/>
                  </a:cubicBezTo>
                  <a:cubicBezTo>
                    <a:pt x="180" y="28"/>
                    <a:pt x="180" y="28"/>
                    <a:pt x="182" y="28"/>
                  </a:cubicBezTo>
                  <a:cubicBezTo>
                    <a:pt x="184" y="28"/>
                    <a:pt x="185" y="27"/>
                    <a:pt x="185" y="25"/>
                  </a:cubicBezTo>
                  <a:cubicBezTo>
                    <a:pt x="185" y="3"/>
                    <a:pt x="185" y="3"/>
                    <a:pt x="185" y="3"/>
                  </a:cubicBezTo>
                  <a:cubicBezTo>
                    <a:pt x="185" y="1"/>
                    <a:pt x="184" y="0"/>
                    <a:pt x="182" y="0"/>
                  </a:cubicBezTo>
                  <a:cubicBezTo>
                    <a:pt x="181" y="0"/>
                    <a:pt x="180" y="1"/>
                    <a:pt x="180" y="3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3" y="1"/>
                    <a:pt x="172" y="0"/>
                    <a:pt x="170" y="0"/>
                  </a:cubicBezTo>
                  <a:cubicBezTo>
                    <a:pt x="169" y="0"/>
                    <a:pt x="168" y="1"/>
                    <a:pt x="168" y="3"/>
                  </a:cubicBezTo>
                  <a:lnTo>
                    <a:pt x="168" y="25"/>
                  </a:lnTo>
                  <a:close/>
                  <a:moveTo>
                    <a:pt x="154" y="25"/>
                  </a:moveTo>
                  <a:cubicBezTo>
                    <a:pt x="154" y="27"/>
                    <a:pt x="156" y="28"/>
                    <a:pt x="157" y="28"/>
                  </a:cubicBezTo>
                  <a:cubicBezTo>
                    <a:pt x="158" y="28"/>
                    <a:pt x="160" y="27"/>
                    <a:pt x="160" y="25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1"/>
                    <a:pt x="158" y="0"/>
                    <a:pt x="157" y="0"/>
                  </a:cubicBezTo>
                  <a:cubicBezTo>
                    <a:pt x="156" y="0"/>
                    <a:pt x="154" y="1"/>
                    <a:pt x="154" y="3"/>
                  </a:cubicBezTo>
                  <a:lnTo>
                    <a:pt x="154" y="25"/>
                  </a:lnTo>
                  <a:close/>
                  <a:moveTo>
                    <a:pt x="134" y="1"/>
                  </a:moveTo>
                  <a:cubicBezTo>
                    <a:pt x="132" y="1"/>
                    <a:pt x="131" y="2"/>
                    <a:pt x="131" y="3"/>
                  </a:cubicBezTo>
                  <a:cubicBezTo>
                    <a:pt x="131" y="4"/>
                    <a:pt x="132" y="5"/>
                    <a:pt x="134" y="5"/>
                  </a:cubicBezTo>
                  <a:cubicBezTo>
                    <a:pt x="138" y="5"/>
                    <a:pt x="138" y="5"/>
                    <a:pt x="138" y="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7"/>
                    <a:pt x="139" y="28"/>
                    <a:pt x="140" y="28"/>
                  </a:cubicBezTo>
                  <a:cubicBezTo>
                    <a:pt x="142" y="28"/>
                    <a:pt x="143" y="27"/>
                    <a:pt x="143" y="2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9" y="5"/>
                    <a:pt x="149" y="4"/>
                    <a:pt x="149" y="3"/>
                  </a:cubicBezTo>
                  <a:cubicBezTo>
                    <a:pt x="149" y="2"/>
                    <a:pt x="149" y="1"/>
                    <a:pt x="147" y="1"/>
                  </a:cubicBezTo>
                  <a:lnTo>
                    <a:pt x="134" y="1"/>
                  </a:lnTo>
                  <a:close/>
                  <a:moveTo>
                    <a:pt x="122" y="23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22" y="1"/>
                    <a:pt x="121" y="0"/>
                    <a:pt x="120" y="0"/>
                  </a:cubicBezTo>
                  <a:cubicBezTo>
                    <a:pt x="119" y="0"/>
                    <a:pt x="117" y="1"/>
                    <a:pt x="117" y="3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27"/>
                    <a:pt x="118" y="28"/>
                    <a:pt x="12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2" y="28"/>
                    <a:pt x="132" y="27"/>
                    <a:pt x="132" y="25"/>
                  </a:cubicBezTo>
                  <a:cubicBezTo>
                    <a:pt x="132" y="24"/>
                    <a:pt x="132" y="23"/>
                    <a:pt x="130" y="23"/>
                  </a:cubicBezTo>
                  <a:lnTo>
                    <a:pt x="122" y="23"/>
                  </a:lnTo>
                  <a:close/>
                  <a:moveTo>
                    <a:pt x="93" y="20"/>
                  </a:moveTo>
                  <a:cubicBezTo>
                    <a:pt x="93" y="25"/>
                    <a:pt x="96" y="28"/>
                    <a:pt x="101" y="28"/>
                  </a:cubicBezTo>
                  <a:cubicBezTo>
                    <a:pt x="107" y="28"/>
                    <a:pt x="110" y="25"/>
                    <a:pt x="110" y="20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0" y="1"/>
                    <a:pt x="108" y="0"/>
                    <a:pt x="107" y="0"/>
                  </a:cubicBezTo>
                  <a:cubicBezTo>
                    <a:pt x="106" y="0"/>
                    <a:pt x="105" y="1"/>
                    <a:pt x="105" y="3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5" y="23"/>
                    <a:pt x="103" y="24"/>
                    <a:pt x="101" y="24"/>
                  </a:cubicBezTo>
                  <a:cubicBezTo>
                    <a:pt x="100" y="24"/>
                    <a:pt x="98" y="23"/>
                    <a:pt x="98" y="2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8" y="1"/>
                    <a:pt x="97" y="0"/>
                    <a:pt x="96" y="0"/>
                  </a:cubicBezTo>
                  <a:cubicBezTo>
                    <a:pt x="94" y="0"/>
                    <a:pt x="93" y="1"/>
                    <a:pt x="93" y="3"/>
                  </a:cubicBezTo>
                  <a:lnTo>
                    <a:pt x="93" y="20"/>
                  </a:lnTo>
                  <a:close/>
                  <a:moveTo>
                    <a:pt x="79" y="17"/>
                  </a:moveTo>
                  <a:cubicBezTo>
                    <a:pt x="81" y="18"/>
                    <a:pt x="81" y="19"/>
                    <a:pt x="81" y="21"/>
                  </a:cubicBezTo>
                  <a:cubicBezTo>
                    <a:pt x="81" y="23"/>
                    <a:pt x="80" y="24"/>
                    <a:pt x="78" y="24"/>
                  </a:cubicBezTo>
                  <a:cubicBezTo>
                    <a:pt x="76" y="24"/>
                    <a:pt x="75" y="23"/>
                    <a:pt x="75" y="21"/>
                  </a:cubicBezTo>
                  <a:cubicBezTo>
                    <a:pt x="75" y="19"/>
                    <a:pt x="74" y="18"/>
                    <a:pt x="73" y="18"/>
                  </a:cubicBezTo>
                  <a:cubicBezTo>
                    <a:pt x="71" y="18"/>
                    <a:pt x="70" y="19"/>
                    <a:pt x="70" y="21"/>
                  </a:cubicBezTo>
                  <a:cubicBezTo>
                    <a:pt x="70" y="22"/>
                    <a:pt x="71" y="28"/>
                    <a:pt x="78" y="28"/>
                  </a:cubicBezTo>
                  <a:cubicBezTo>
                    <a:pt x="84" y="28"/>
                    <a:pt x="86" y="25"/>
                    <a:pt x="86" y="21"/>
                  </a:cubicBezTo>
                  <a:cubicBezTo>
                    <a:pt x="86" y="17"/>
                    <a:pt x="85" y="15"/>
                    <a:pt x="82" y="13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6" y="9"/>
                    <a:pt x="76" y="8"/>
                    <a:pt x="76" y="7"/>
                  </a:cubicBezTo>
                  <a:cubicBezTo>
                    <a:pt x="76" y="5"/>
                    <a:pt x="77" y="4"/>
                    <a:pt x="78" y="4"/>
                  </a:cubicBezTo>
                  <a:cubicBezTo>
                    <a:pt x="80" y="4"/>
                    <a:pt x="81" y="5"/>
                    <a:pt x="81" y="6"/>
                  </a:cubicBezTo>
                  <a:cubicBezTo>
                    <a:pt x="81" y="8"/>
                    <a:pt x="81" y="9"/>
                    <a:pt x="83" y="9"/>
                  </a:cubicBezTo>
                  <a:cubicBezTo>
                    <a:pt x="85" y="9"/>
                    <a:pt x="86" y="8"/>
                    <a:pt x="86" y="7"/>
                  </a:cubicBezTo>
                  <a:cubicBezTo>
                    <a:pt x="86" y="4"/>
                    <a:pt x="84" y="0"/>
                    <a:pt x="78" y="0"/>
                  </a:cubicBezTo>
                  <a:cubicBezTo>
                    <a:pt x="74" y="0"/>
                    <a:pt x="71" y="2"/>
                    <a:pt x="71" y="7"/>
                  </a:cubicBezTo>
                  <a:cubicBezTo>
                    <a:pt x="71" y="10"/>
                    <a:pt x="71" y="12"/>
                    <a:pt x="74" y="14"/>
                  </a:cubicBezTo>
                  <a:lnTo>
                    <a:pt x="79" y="17"/>
                  </a:lnTo>
                  <a:close/>
                  <a:moveTo>
                    <a:pt x="46" y="25"/>
                  </a:moveTo>
                  <a:cubicBezTo>
                    <a:pt x="46" y="27"/>
                    <a:pt x="47" y="28"/>
                    <a:pt x="48" y="28"/>
                  </a:cubicBezTo>
                  <a:cubicBezTo>
                    <a:pt x="50" y="28"/>
                    <a:pt x="51" y="27"/>
                    <a:pt x="51" y="25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8"/>
                    <a:pt x="59" y="28"/>
                    <a:pt x="61" y="28"/>
                  </a:cubicBezTo>
                  <a:cubicBezTo>
                    <a:pt x="62" y="28"/>
                    <a:pt x="63" y="27"/>
                    <a:pt x="63" y="2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1"/>
                    <a:pt x="62" y="0"/>
                    <a:pt x="61" y="0"/>
                  </a:cubicBezTo>
                  <a:cubicBezTo>
                    <a:pt x="59" y="0"/>
                    <a:pt x="58" y="1"/>
                    <a:pt x="58" y="3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1" y="1"/>
                    <a:pt x="50" y="0"/>
                    <a:pt x="49" y="0"/>
                  </a:cubicBezTo>
                  <a:cubicBezTo>
                    <a:pt x="47" y="0"/>
                    <a:pt x="46" y="1"/>
                    <a:pt x="46" y="3"/>
                  </a:cubicBezTo>
                  <a:lnTo>
                    <a:pt x="46" y="25"/>
                  </a:lnTo>
                  <a:close/>
                  <a:moveTo>
                    <a:pt x="27" y="11"/>
                  </a:moveTo>
                  <a:cubicBezTo>
                    <a:pt x="27" y="5"/>
                    <a:pt x="28" y="4"/>
                    <a:pt x="30" y="4"/>
                  </a:cubicBezTo>
                  <a:cubicBezTo>
                    <a:pt x="32" y="4"/>
                    <a:pt x="33" y="5"/>
                    <a:pt x="33" y="11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23"/>
                    <a:pt x="32" y="24"/>
                    <a:pt x="30" y="24"/>
                  </a:cubicBezTo>
                  <a:cubicBezTo>
                    <a:pt x="28" y="24"/>
                    <a:pt x="27" y="23"/>
                    <a:pt x="27" y="17"/>
                  </a:cubicBezTo>
                  <a:lnTo>
                    <a:pt x="27" y="11"/>
                  </a:lnTo>
                  <a:close/>
                  <a:moveTo>
                    <a:pt x="22" y="17"/>
                  </a:moveTo>
                  <a:cubicBezTo>
                    <a:pt x="22" y="27"/>
                    <a:pt x="26" y="28"/>
                    <a:pt x="30" y="28"/>
                  </a:cubicBezTo>
                  <a:cubicBezTo>
                    <a:pt x="35" y="28"/>
                    <a:pt x="39" y="27"/>
                    <a:pt x="39" y="17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"/>
                    <a:pt x="35" y="0"/>
                    <a:pt x="30" y="0"/>
                  </a:cubicBezTo>
                  <a:cubicBezTo>
                    <a:pt x="26" y="0"/>
                    <a:pt x="22" y="1"/>
                    <a:pt x="22" y="11"/>
                  </a:cubicBezTo>
                  <a:lnTo>
                    <a:pt x="22" y="17"/>
                  </a:lnTo>
                  <a:close/>
                  <a:moveTo>
                    <a:pt x="0" y="17"/>
                  </a:moveTo>
                  <a:cubicBezTo>
                    <a:pt x="0" y="22"/>
                    <a:pt x="0" y="28"/>
                    <a:pt x="8" y="28"/>
                  </a:cubicBezTo>
                  <a:cubicBezTo>
                    <a:pt x="13" y="28"/>
                    <a:pt x="16" y="26"/>
                    <a:pt x="16" y="20"/>
                  </a:cubicBezTo>
                  <a:cubicBezTo>
                    <a:pt x="16" y="19"/>
                    <a:pt x="15" y="17"/>
                    <a:pt x="13" y="17"/>
                  </a:cubicBezTo>
                  <a:cubicBezTo>
                    <a:pt x="11" y="17"/>
                    <a:pt x="11" y="19"/>
                    <a:pt x="11" y="22"/>
                  </a:cubicBezTo>
                  <a:cubicBezTo>
                    <a:pt x="11" y="23"/>
                    <a:pt x="9" y="24"/>
                    <a:pt x="8" y="24"/>
                  </a:cubicBezTo>
                  <a:cubicBezTo>
                    <a:pt x="5" y="24"/>
                    <a:pt x="5" y="21"/>
                    <a:pt x="5" y="1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0" y="5"/>
                    <a:pt x="11" y="7"/>
                  </a:cubicBezTo>
                  <a:cubicBezTo>
                    <a:pt x="11" y="9"/>
                    <a:pt x="11" y="10"/>
                    <a:pt x="13" y="10"/>
                  </a:cubicBezTo>
                  <a:cubicBezTo>
                    <a:pt x="15" y="10"/>
                    <a:pt x="16" y="9"/>
                    <a:pt x="16" y="7"/>
                  </a:cubicBezTo>
                  <a:cubicBezTo>
                    <a:pt x="16" y="3"/>
                    <a:pt x="13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EFBF674-335D-46E8-B577-6455D2E0CA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849737" y="19740"/>
            <a:ext cx="5933" cy="2437710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C3A8A3D-B87C-4402-8EB5-FE60DEED0B64}"/>
              </a:ext>
            </a:extLst>
          </p:cNvPr>
          <p:cNvSpPr>
            <a:spLocks noChangeAspect="1"/>
          </p:cNvSpPr>
          <p:nvPr userDrawn="1"/>
        </p:nvSpPr>
        <p:spPr>
          <a:xfrm>
            <a:off x="6096000" y="2569464"/>
            <a:ext cx="859536" cy="1719072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67120B1-D57C-43C1-BE76-602F857DD8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75291" y="2589204"/>
            <a:ext cx="4064210" cy="1699331"/>
          </a:xfrm>
        </p:spPr>
        <p:txBody>
          <a:bodyPr anchor="ctr"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346794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C67824-299F-4735-B06A-49A1512ABE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90324EF-A599-41F5-AEE4-6183FDE88B76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99F254-1733-49C9-B419-D04BCB221C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051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0D4B893-43D7-452E-84DB-F525AA54CD02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6677A02-AF01-4F8F-93B6-3F0FC335E2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2133600"/>
            <a:ext cx="4919472" cy="4267200"/>
          </a:xfrm>
        </p:spPr>
        <p:txBody>
          <a:bodyPr numCol="1"/>
          <a:lstStyle>
            <a:lvl1pPr>
              <a:defRPr/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2pPr>
            <a:lvl3pPr marL="342900" indent="-342900">
              <a:buFont typeface="Arial" panose="020B0604020202020204" pitchFamily="34" charset="0"/>
              <a:buChar char="•"/>
              <a:defRPr/>
            </a:lvl3pPr>
            <a:lvl4pPr>
              <a:buClr>
                <a:schemeClr val="accent1"/>
              </a:buClr>
              <a:defRPr/>
            </a:lvl4pPr>
          </a:lstStyle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  <a:p>
            <a:pPr lvl="3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704D5B3-8204-4E1A-8747-3C6A1E7F91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18354" y="2133600"/>
            <a:ext cx="4919472" cy="4267200"/>
          </a:xfrm>
        </p:spPr>
        <p:txBody>
          <a:bodyPr numCol="1"/>
          <a:lstStyle>
            <a:lvl1pPr>
              <a:defRPr/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2pPr>
          </a:lstStyle>
          <a:p>
            <a:pPr lvl="0"/>
            <a:r>
              <a:rPr lang="en-US"/>
              <a:t>Heading 2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72982FB-6F66-4EBD-857F-613174B20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3C3E37-70A3-4A1D-8AE5-2F3531227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513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three sections sho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42D5262-935C-424B-A1BB-733EBA48DEC7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D8830443-57A2-4A0E-9747-BB83BDCCBD44}"/>
              </a:ext>
            </a:extLst>
          </p:cNvPr>
          <p:cNvSpPr/>
          <p:nvPr userDrawn="1"/>
        </p:nvSpPr>
        <p:spPr>
          <a:xfrm>
            <a:off x="2292413" y="27432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8A0292F-4B22-4767-9353-5B948D60255E}"/>
              </a:ext>
            </a:extLst>
          </p:cNvPr>
          <p:cNvCxnSpPr>
            <a:cxnSpLocks/>
          </p:cNvCxnSpPr>
          <p:nvPr userDrawn="1"/>
        </p:nvCxnSpPr>
        <p:spPr>
          <a:xfrm>
            <a:off x="2596402" y="38862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41B50737-997D-492F-91EA-2B077D1200A0}"/>
              </a:ext>
            </a:extLst>
          </p:cNvPr>
          <p:cNvSpPr txBox="1"/>
          <p:nvPr userDrawn="1"/>
        </p:nvSpPr>
        <p:spPr>
          <a:xfrm>
            <a:off x="3038789" y="29338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E5D5D67-2195-481D-B4C5-460F691BB9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39943" y="29338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63CF92A9-94FA-4077-A7FF-DB91550AFD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808" y="40147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DCECAB3-32D6-4884-97E3-7E9AEBE66385}"/>
              </a:ext>
            </a:extLst>
          </p:cNvPr>
          <p:cNvSpPr/>
          <p:nvPr userDrawn="1"/>
        </p:nvSpPr>
        <p:spPr>
          <a:xfrm>
            <a:off x="4959412" y="27432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0505B1A-4A49-48FD-84EC-7A1E13B9BF10}"/>
              </a:ext>
            </a:extLst>
          </p:cNvPr>
          <p:cNvCxnSpPr>
            <a:cxnSpLocks/>
          </p:cNvCxnSpPr>
          <p:nvPr userDrawn="1"/>
        </p:nvCxnSpPr>
        <p:spPr>
          <a:xfrm>
            <a:off x="5263401" y="38862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FF7319AE-C525-480F-9691-C6E860B4EF60}"/>
              </a:ext>
            </a:extLst>
          </p:cNvPr>
          <p:cNvSpPr txBox="1"/>
          <p:nvPr userDrawn="1"/>
        </p:nvSpPr>
        <p:spPr>
          <a:xfrm>
            <a:off x="5705788" y="29338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076C9D72-BE91-45FF-B829-7A95E4922F9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06942" y="29338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2745461D-E88C-4D95-9EDF-293829A35B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24807" y="40147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4D56E06A-B0DF-478E-A72C-0506A08EB155}"/>
              </a:ext>
            </a:extLst>
          </p:cNvPr>
          <p:cNvSpPr/>
          <p:nvPr userDrawn="1"/>
        </p:nvSpPr>
        <p:spPr>
          <a:xfrm>
            <a:off x="7626415" y="27432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9D7DCD7-994F-4188-BBB6-746D5BB5061E}"/>
              </a:ext>
            </a:extLst>
          </p:cNvPr>
          <p:cNvCxnSpPr>
            <a:cxnSpLocks/>
          </p:cNvCxnSpPr>
          <p:nvPr userDrawn="1"/>
        </p:nvCxnSpPr>
        <p:spPr>
          <a:xfrm>
            <a:off x="7930404" y="38862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2233FB72-2F4F-42DD-82B9-00D029FC53EE}"/>
              </a:ext>
            </a:extLst>
          </p:cNvPr>
          <p:cNvSpPr txBox="1"/>
          <p:nvPr userDrawn="1"/>
        </p:nvSpPr>
        <p:spPr>
          <a:xfrm>
            <a:off x="8372791" y="29338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2C070ABA-000E-48D4-95CB-A104AC6EBF5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73945" y="29338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2BEE6A79-E73B-4379-A555-3A9557E722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91810" y="40147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9B1518-37C6-4EE8-BEB6-C4C1C4FB3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BA1D3B-098F-4648-9DE6-4210AB8455D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953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AED9062-7D71-4E28-9652-20B7B212CD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8965" y="2764202"/>
            <a:ext cx="6654071" cy="1329595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US"/>
              <a:t>AN EXAMPLE WITH JUST A SIMPLE 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25A4DA-BC2B-451C-9812-A3C8BE8358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8445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590" y="3093376"/>
            <a:ext cx="490118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26226" y="3093376"/>
            <a:ext cx="490118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6090775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80C65-08BE-4BBB-92AF-AF937DCE9C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66701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FBEC66-EDDF-4BB0-A261-45DD242E6C39}"/>
              </a:ext>
            </a:extLst>
          </p:cNvPr>
          <p:cNvCxnSpPr/>
          <p:nvPr userDrawn="1"/>
        </p:nvCxnSpPr>
        <p:spPr>
          <a:xfrm>
            <a:off x="3108811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7DDA50-1593-45FA-9F09-453C7E2B64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28337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51DD13-E743-4B6F-A37C-740B632BACDF}"/>
              </a:ext>
            </a:extLst>
          </p:cNvPr>
          <p:cNvCxnSpPr/>
          <p:nvPr userDrawn="1"/>
        </p:nvCxnSpPr>
        <p:spPr>
          <a:xfrm>
            <a:off x="8470447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C27C03-CF7E-467D-A70F-6CB57450AE2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398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tex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89" y="678799"/>
            <a:ext cx="10265983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1428" y="3093376"/>
            <a:ext cx="3108960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521" y="3093376"/>
            <a:ext cx="3108960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1613" y="3093376"/>
            <a:ext cx="3108960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E2CBE2-0D36-4C4D-86CB-371784F5C7A0}"/>
              </a:ext>
            </a:extLst>
          </p:cNvPr>
          <p:cNvCxnSpPr>
            <a:cxnSpLocks/>
          </p:cNvCxnSpPr>
          <p:nvPr userDrawn="1"/>
        </p:nvCxnSpPr>
        <p:spPr>
          <a:xfrm>
            <a:off x="7880822" y="2133600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4300729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80C65-08BE-4BBB-92AF-AF937DCE9C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7427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FBEC66-EDDF-4BB0-A261-45DD242E6C39}"/>
              </a:ext>
            </a:extLst>
          </p:cNvPr>
          <p:cNvCxnSpPr/>
          <p:nvPr userDrawn="1"/>
        </p:nvCxnSpPr>
        <p:spPr>
          <a:xfrm>
            <a:off x="2199962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7DDA50-1593-45FA-9F09-453C7E2B64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7519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51DD13-E743-4B6F-A37C-740B632BACDF}"/>
              </a:ext>
            </a:extLst>
          </p:cNvPr>
          <p:cNvCxnSpPr/>
          <p:nvPr userDrawn="1"/>
        </p:nvCxnSpPr>
        <p:spPr>
          <a:xfrm>
            <a:off x="5780054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B09A4D9-5C73-416B-A210-4A3EE0550EE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27612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F70D520-D79C-4CC8-9B0F-87542D9FBBA4}"/>
              </a:ext>
            </a:extLst>
          </p:cNvPr>
          <p:cNvCxnSpPr/>
          <p:nvPr userDrawn="1"/>
        </p:nvCxnSpPr>
        <p:spPr>
          <a:xfrm>
            <a:off x="9360147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B2E3D8-7692-4F5D-A7F7-86CAEB1E161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217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Text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2500" y="313436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31693" y="313436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10886" y="313436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E2CBE2-0D36-4C4D-86CB-371784F5C7A0}"/>
              </a:ext>
            </a:extLst>
          </p:cNvPr>
          <p:cNvCxnSpPr>
            <a:cxnSpLocks/>
          </p:cNvCxnSpPr>
          <p:nvPr userDrawn="1"/>
        </p:nvCxnSpPr>
        <p:spPr>
          <a:xfrm>
            <a:off x="6090776" y="2133600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3411583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80C65-08BE-4BBB-92AF-AF937DCE9C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40821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FBEC66-EDDF-4BB0-A261-45DD242E6C39}"/>
              </a:ext>
            </a:extLst>
          </p:cNvPr>
          <p:cNvCxnSpPr/>
          <p:nvPr userDrawn="1"/>
        </p:nvCxnSpPr>
        <p:spPr>
          <a:xfrm>
            <a:off x="1782931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7DDA50-1593-45FA-9F09-453C7E2B64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8251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51DD13-E743-4B6F-A37C-740B632BACDF}"/>
              </a:ext>
            </a:extLst>
          </p:cNvPr>
          <p:cNvCxnSpPr/>
          <p:nvPr userDrawn="1"/>
        </p:nvCxnSpPr>
        <p:spPr>
          <a:xfrm>
            <a:off x="4450361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B09A4D9-5C73-416B-A210-4A3EE0550EE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79383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F70D520-D79C-4CC8-9B0F-87542D9FBBA4}"/>
              </a:ext>
            </a:extLst>
          </p:cNvPr>
          <p:cNvCxnSpPr/>
          <p:nvPr userDrawn="1"/>
        </p:nvCxnSpPr>
        <p:spPr>
          <a:xfrm>
            <a:off x="7121493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784BFE5-D82C-4947-8264-E050D1AA1A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90076" y="313436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8A7684F-6EDC-4A75-97B1-EB0CA1B5489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66307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619149D-608A-4DBA-BBFB-C62FBE8C42C5}"/>
              </a:ext>
            </a:extLst>
          </p:cNvPr>
          <p:cNvCxnSpPr>
            <a:cxnSpLocks/>
          </p:cNvCxnSpPr>
          <p:nvPr userDrawn="1"/>
        </p:nvCxnSpPr>
        <p:spPr>
          <a:xfrm>
            <a:off x="9808417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12C54F8-461A-4493-AD33-67A46B087F16}"/>
              </a:ext>
            </a:extLst>
          </p:cNvPr>
          <p:cNvCxnSpPr>
            <a:cxnSpLocks/>
          </p:cNvCxnSpPr>
          <p:nvPr userDrawn="1"/>
        </p:nvCxnSpPr>
        <p:spPr>
          <a:xfrm>
            <a:off x="8769969" y="2133599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4FB6D8-EFAB-4A24-9117-EC11D18BBD9F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88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text fiv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83838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1428" y="309337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521" y="309337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1613" y="309337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4300729" y="2133601"/>
            <a:ext cx="185" cy="191198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80C65-08BE-4BBB-92AF-AF937DCE9C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7427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FBEC66-EDDF-4BB0-A261-45DD242E6C39}"/>
              </a:ext>
            </a:extLst>
          </p:cNvPr>
          <p:cNvCxnSpPr/>
          <p:nvPr userDrawn="1"/>
        </p:nvCxnSpPr>
        <p:spPr>
          <a:xfrm>
            <a:off x="2209537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7DDA50-1593-45FA-9F09-453C7E2B64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7519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51DD13-E743-4B6F-A37C-740B632BACDF}"/>
              </a:ext>
            </a:extLst>
          </p:cNvPr>
          <p:cNvCxnSpPr/>
          <p:nvPr userDrawn="1"/>
        </p:nvCxnSpPr>
        <p:spPr>
          <a:xfrm>
            <a:off x="5789629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B09A4D9-5C73-416B-A210-4A3EE0550EE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27612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F70D520-D79C-4CC8-9B0F-87542D9FBBA4}"/>
              </a:ext>
            </a:extLst>
          </p:cNvPr>
          <p:cNvCxnSpPr/>
          <p:nvPr userDrawn="1"/>
        </p:nvCxnSpPr>
        <p:spPr>
          <a:xfrm>
            <a:off x="9369722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2FCCCFE-830E-4385-8BD4-F62833EC1FB9}"/>
              </a:ext>
            </a:extLst>
          </p:cNvPr>
          <p:cNvCxnSpPr/>
          <p:nvPr userDrawn="1"/>
        </p:nvCxnSpPr>
        <p:spPr>
          <a:xfrm>
            <a:off x="961428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20F3659-ACDA-486E-96E8-838064F05A71}"/>
              </a:ext>
            </a:extLst>
          </p:cNvPr>
          <p:cNvCxnSpPr/>
          <p:nvPr userDrawn="1"/>
        </p:nvCxnSpPr>
        <p:spPr>
          <a:xfrm>
            <a:off x="4541521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0B6DC22-F689-4A39-8003-1B70C538DF1A}"/>
              </a:ext>
            </a:extLst>
          </p:cNvPr>
          <p:cNvCxnSpPr/>
          <p:nvPr userDrawn="1"/>
        </p:nvCxnSpPr>
        <p:spPr>
          <a:xfrm>
            <a:off x="8130540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5FCCA60-85C8-4CB0-B86A-A6EDD856EFC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46249" y="5544762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DE0FD0-2A71-405F-9C52-3EEDE15235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26342" y="5544762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1D10A52-ADE7-42E2-945E-8D149E6591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52248" y="4584986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650DE45-14EB-4015-AF24-979934BD2793}"/>
              </a:ext>
            </a:extLst>
          </p:cNvPr>
          <p:cNvCxnSpPr/>
          <p:nvPr userDrawn="1"/>
        </p:nvCxnSpPr>
        <p:spPr>
          <a:xfrm>
            <a:off x="3994358" y="5298281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C09EEAA-B0EA-43DF-96AA-06C8003C8E2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32340" y="4584986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17B79C0-3FBE-461B-9CC6-D7B0C5E82F07}"/>
              </a:ext>
            </a:extLst>
          </p:cNvPr>
          <p:cNvCxnSpPr/>
          <p:nvPr userDrawn="1"/>
        </p:nvCxnSpPr>
        <p:spPr>
          <a:xfrm>
            <a:off x="7574450" y="5298281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1D5B8D-C52F-4A97-9388-4760F9DAA0E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96768FD-2504-4938-A10A-D7DFF83C59EB}"/>
              </a:ext>
            </a:extLst>
          </p:cNvPr>
          <p:cNvCxnSpPr>
            <a:cxnSpLocks/>
          </p:cNvCxnSpPr>
          <p:nvPr userDrawn="1"/>
        </p:nvCxnSpPr>
        <p:spPr>
          <a:xfrm>
            <a:off x="7891086" y="2133600"/>
            <a:ext cx="185" cy="191198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A5BBF17-2C2A-4B5B-9921-9F0BB91D9864}"/>
              </a:ext>
            </a:extLst>
          </p:cNvPr>
          <p:cNvCxnSpPr>
            <a:cxnSpLocks/>
          </p:cNvCxnSpPr>
          <p:nvPr userDrawn="1"/>
        </p:nvCxnSpPr>
        <p:spPr>
          <a:xfrm>
            <a:off x="6090497" y="4488812"/>
            <a:ext cx="185" cy="191198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89223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text six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83838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1428" y="309337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521" y="309337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1613" y="309337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E2CBE2-0D36-4C4D-86CB-371784F5C7A0}"/>
              </a:ext>
            </a:extLst>
          </p:cNvPr>
          <p:cNvCxnSpPr>
            <a:cxnSpLocks/>
          </p:cNvCxnSpPr>
          <p:nvPr userDrawn="1"/>
        </p:nvCxnSpPr>
        <p:spPr>
          <a:xfrm>
            <a:off x="7880822" y="2133600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4300729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80C65-08BE-4BBB-92AF-AF937DCE9C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7427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FBEC66-EDDF-4BB0-A261-45DD242E6C39}"/>
              </a:ext>
            </a:extLst>
          </p:cNvPr>
          <p:cNvCxnSpPr/>
          <p:nvPr userDrawn="1"/>
        </p:nvCxnSpPr>
        <p:spPr>
          <a:xfrm>
            <a:off x="2209537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7DDA50-1593-45FA-9F09-453C7E2B64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47519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51DD13-E743-4B6F-A37C-740B632BACDF}"/>
              </a:ext>
            </a:extLst>
          </p:cNvPr>
          <p:cNvCxnSpPr/>
          <p:nvPr userDrawn="1"/>
        </p:nvCxnSpPr>
        <p:spPr>
          <a:xfrm>
            <a:off x="5789629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B09A4D9-5C73-416B-A210-4A3EE0550EE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27612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F70D520-D79C-4CC8-9B0F-87542D9FBBA4}"/>
              </a:ext>
            </a:extLst>
          </p:cNvPr>
          <p:cNvCxnSpPr/>
          <p:nvPr userDrawn="1"/>
        </p:nvCxnSpPr>
        <p:spPr>
          <a:xfrm>
            <a:off x="9369722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2FCCCFE-830E-4385-8BD4-F62833EC1FB9}"/>
              </a:ext>
            </a:extLst>
          </p:cNvPr>
          <p:cNvCxnSpPr/>
          <p:nvPr userDrawn="1"/>
        </p:nvCxnSpPr>
        <p:spPr>
          <a:xfrm>
            <a:off x="961428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20F3659-ACDA-486E-96E8-838064F05A71}"/>
              </a:ext>
            </a:extLst>
          </p:cNvPr>
          <p:cNvCxnSpPr/>
          <p:nvPr userDrawn="1"/>
        </p:nvCxnSpPr>
        <p:spPr>
          <a:xfrm>
            <a:off x="4541521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0B6DC22-F689-4A39-8003-1B70C538DF1A}"/>
              </a:ext>
            </a:extLst>
          </p:cNvPr>
          <p:cNvCxnSpPr/>
          <p:nvPr userDrawn="1"/>
        </p:nvCxnSpPr>
        <p:spPr>
          <a:xfrm>
            <a:off x="8130540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5FCCA60-85C8-4CB0-B86A-A6EDD856EFC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2500" y="5464217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DE0FD0-2A71-405F-9C52-3EEDE15235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2593" y="5464217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3ACAAB46-FDC8-4A20-90E9-531C9CC12A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12685" y="5464217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1D10A52-ADE7-42E2-945E-8D149E6591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58499" y="4504441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650DE45-14EB-4015-AF24-979934BD2793}"/>
              </a:ext>
            </a:extLst>
          </p:cNvPr>
          <p:cNvCxnSpPr/>
          <p:nvPr userDrawn="1"/>
        </p:nvCxnSpPr>
        <p:spPr>
          <a:xfrm>
            <a:off x="2200609" y="5217736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C09EEAA-B0EA-43DF-96AA-06C8003C8E2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38591" y="4504441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17B79C0-3FBE-461B-9CC6-D7B0C5E82F07}"/>
              </a:ext>
            </a:extLst>
          </p:cNvPr>
          <p:cNvCxnSpPr/>
          <p:nvPr userDrawn="1"/>
        </p:nvCxnSpPr>
        <p:spPr>
          <a:xfrm>
            <a:off x="5780701" y="5217736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A2D1D7B-3040-4D47-9C46-FDD4D249AF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18684" y="4504441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B304FE3-0A60-4A3F-AB03-E7261AC2556F}"/>
              </a:ext>
            </a:extLst>
          </p:cNvPr>
          <p:cNvCxnSpPr/>
          <p:nvPr userDrawn="1"/>
        </p:nvCxnSpPr>
        <p:spPr>
          <a:xfrm>
            <a:off x="9360794" y="5217736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1D5B8D-C52F-4A97-9388-4760F9DAA0E6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7116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ing Text 8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2500" y="313436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80C65-08BE-4BBB-92AF-AF937DCE9C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40821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FBEC66-EDDF-4BB0-A261-45DD242E6C39}"/>
              </a:ext>
            </a:extLst>
          </p:cNvPr>
          <p:cNvCxnSpPr/>
          <p:nvPr userDrawn="1"/>
        </p:nvCxnSpPr>
        <p:spPr>
          <a:xfrm>
            <a:off x="1782931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F7DDA50-1593-45FA-9F09-453C7E2B64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8251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D51DD13-E743-4B6F-A37C-740B632BACDF}"/>
              </a:ext>
            </a:extLst>
          </p:cNvPr>
          <p:cNvCxnSpPr/>
          <p:nvPr userDrawn="1"/>
        </p:nvCxnSpPr>
        <p:spPr>
          <a:xfrm>
            <a:off x="4450361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B09A4D9-5C73-416B-A210-4A3EE0550EE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79383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F70D520-D79C-4CC8-9B0F-87542D9FBBA4}"/>
              </a:ext>
            </a:extLst>
          </p:cNvPr>
          <p:cNvCxnSpPr/>
          <p:nvPr userDrawn="1"/>
        </p:nvCxnSpPr>
        <p:spPr>
          <a:xfrm>
            <a:off x="7121493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8A7684F-6EDC-4A75-97B1-EB0CA1B5489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66307" y="2133600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619149D-608A-4DBA-BBFB-C62FBE8C42C5}"/>
              </a:ext>
            </a:extLst>
          </p:cNvPr>
          <p:cNvCxnSpPr>
            <a:cxnSpLocks/>
          </p:cNvCxnSpPr>
          <p:nvPr userDrawn="1"/>
        </p:nvCxnSpPr>
        <p:spPr>
          <a:xfrm>
            <a:off x="9808417" y="2846895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2AA4292E-6E40-48CF-B0DC-6372AE92B80B}"/>
              </a:ext>
            </a:extLst>
          </p:cNvPr>
          <p:cNvGrpSpPr/>
          <p:nvPr userDrawn="1"/>
        </p:nvGrpSpPr>
        <p:grpSpPr>
          <a:xfrm>
            <a:off x="3411581" y="2133599"/>
            <a:ext cx="5368837" cy="4267201"/>
            <a:chOff x="3411583" y="2133599"/>
            <a:chExt cx="5368837" cy="4267201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8E2CBE2-0D36-4C4D-86CB-371784F5C7A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0776" y="2133600"/>
              <a:ext cx="10451" cy="426719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C4C1CE8-C33C-441E-A669-1BAF051C78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411583" y="2133601"/>
              <a:ext cx="10451" cy="426719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12C54F8-461A-4493-AD33-67A46B087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69969" y="2133599"/>
              <a:ext cx="10451" cy="426719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F03F7C7-5E4F-4AF8-99FF-2ED5C80BC8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38661" y="313436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B5803BC-F9B7-4ADF-8D9A-02BBBDCC24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7854" y="313436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494C025-8E35-49F8-953C-A6B78A8942D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0530" y="313436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14DD79-81E1-4C18-AC91-69C24F2C9C4A}"/>
              </a:ext>
            </a:extLst>
          </p:cNvPr>
          <p:cNvCxnSpPr>
            <a:cxnSpLocks/>
          </p:cNvCxnSpPr>
          <p:nvPr userDrawn="1"/>
        </p:nvCxnSpPr>
        <p:spPr>
          <a:xfrm>
            <a:off x="964588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389C07-CDAA-4EF4-81A8-28600CDA326D}"/>
              </a:ext>
            </a:extLst>
          </p:cNvPr>
          <p:cNvCxnSpPr>
            <a:cxnSpLocks/>
          </p:cNvCxnSpPr>
          <p:nvPr userDrawn="1"/>
        </p:nvCxnSpPr>
        <p:spPr>
          <a:xfrm>
            <a:off x="3643235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018BAF7-E944-4C5B-841B-6D07AD39BE0B}"/>
              </a:ext>
            </a:extLst>
          </p:cNvPr>
          <p:cNvCxnSpPr>
            <a:cxnSpLocks/>
          </p:cNvCxnSpPr>
          <p:nvPr userDrawn="1"/>
        </p:nvCxnSpPr>
        <p:spPr>
          <a:xfrm>
            <a:off x="6321882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0660FD7-061F-4815-A2B8-1A9171A8C535}"/>
              </a:ext>
            </a:extLst>
          </p:cNvPr>
          <p:cNvCxnSpPr>
            <a:cxnSpLocks/>
          </p:cNvCxnSpPr>
          <p:nvPr userDrawn="1"/>
        </p:nvCxnSpPr>
        <p:spPr>
          <a:xfrm>
            <a:off x="9000530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878EE201-6F6E-46E0-B2AC-D0570C83D61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4588" y="5505207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D119910-C2BA-448F-A936-5AD6C5E5BDF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552909" y="4504441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4D18228-7DF9-4AA8-8E4B-ACAEB217138B}"/>
              </a:ext>
            </a:extLst>
          </p:cNvPr>
          <p:cNvCxnSpPr/>
          <p:nvPr userDrawn="1"/>
        </p:nvCxnSpPr>
        <p:spPr>
          <a:xfrm>
            <a:off x="1795019" y="5217736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1C0E600-AF65-4A9C-8697-73DEAC330A5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20339" y="4504441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C9BFAC0-1F4F-4658-9661-E63535946031}"/>
              </a:ext>
            </a:extLst>
          </p:cNvPr>
          <p:cNvCxnSpPr/>
          <p:nvPr userDrawn="1"/>
        </p:nvCxnSpPr>
        <p:spPr>
          <a:xfrm>
            <a:off x="4462449" y="5217736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5351257-7534-4359-880A-C707BF193A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91471" y="4504441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7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AC8B278-7BE0-4809-B788-CD3C6A65223B}"/>
              </a:ext>
            </a:extLst>
          </p:cNvPr>
          <p:cNvCxnSpPr/>
          <p:nvPr userDrawn="1"/>
        </p:nvCxnSpPr>
        <p:spPr>
          <a:xfrm>
            <a:off x="7133581" y="5217736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328F286C-0B55-4F09-A561-FB0E8C39C73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78395" y="4504441"/>
            <a:ext cx="1096962" cy="524759"/>
          </a:xfrm>
        </p:spPr>
        <p:txBody>
          <a:bodyPr/>
          <a:lstStyle>
            <a:lvl1pPr algn="ctr">
              <a:defRPr sz="4000">
                <a:solidFill>
                  <a:srgbClr val="4A839A"/>
                </a:solidFill>
              </a:defRPr>
            </a:lvl1pPr>
          </a:lstStyle>
          <a:p>
            <a:pPr lvl="0"/>
            <a:r>
              <a:rPr lang="en-US"/>
              <a:t>08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CCF01BA-7EAF-4F94-90F2-BC911402EACD}"/>
              </a:ext>
            </a:extLst>
          </p:cNvPr>
          <p:cNvCxnSpPr>
            <a:cxnSpLocks/>
          </p:cNvCxnSpPr>
          <p:nvPr userDrawn="1"/>
        </p:nvCxnSpPr>
        <p:spPr>
          <a:xfrm>
            <a:off x="9820505" y="5217736"/>
            <a:ext cx="612743" cy="0"/>
          </a:xfrm>
          <a:prstGeom prst="line">
            <a:avLst/>
          </a:prstGeom>
          <a:ln w="635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F1451F72-A88B-4072-822A-EDC4DCC7A7E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650749" y="5505207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DA68EFC4-470A-4D36-A251-03AD7863CEB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29942" y="5505207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5E9C8046-8366-484E-B700-22ED750588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012618" y="5505207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6A28B-4CC1-4E2E-A16E-26A3E975F281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281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con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7962" cy="4431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50" y="3346704"/>
            <a:ext cx="490118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41368" y="3346704"/>
            <a:ext cx="490118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6090775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9C5F9AB7-463A-4987-A5FF-CA7E7C1A5E2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2910838" y="2133600"/>
            <a:ext cx="978408" cy="978408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6B85A036-9133-4A80-BA91-F7646A2CEE4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8302756" y="2133600"/>
            <a:ext cx="978408" cy="978408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7C1692-7D60-4054-ABB5-83EDD4B29996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128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con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9513" y="3136392"/>
            <a:ext cx="3108960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9662" y="3136392"/>
            <a:ext cx="3108960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49811" y="3136392"/>
            <a:ext cx="3108960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E2CBE2-0D36-4C4D-86CB-371784F5C7A0}"/>
              </a:ext>
            </a:extLst>
          </p:cNvPr>
          <p:cNvCxnSpPr>
            <a:cxnSpLocks/>
          </p:cNvCxnSpPr>
          <p:nvPr userDrawn="1"/>
        </p:nvCxnSpPr>
        <p:spPr>
          <a:xfrm>
            <a:off x="7883928" y="2133600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4293779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9C5F9AB7-463A-4987-A5FF-CA7E7C1A5E2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2115310" y="2133600"/>
            <a:ext cx="777240" cy="777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6B85A036-9133-4A80-BA91-F7646A2CEE4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5705459" y="2133600"/>
            <a:ext cx="777240" cy="777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B4AE0E28-DA57-4FD1-8C29-D137C334CA56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9295608" y="2133600"/>
            <a:ext cx="777240" cy="7772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B3660C-38D0-4BEB-88F0-AB5ABE19FC1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3638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con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50" y="305409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28643" y="305409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07836" y="305409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E2CBE2-0D36-4C4D-86CB-371784F5C7A0}"/>
              </a:ext>
            </a:extLst>
          </p:cNvPr>
          <p:cNvCxnSpPr>
            <a:cxnSpLocks/>
          </p:cNvCxnSpPr>
          <p:nvPr userDrawn="1"/>
        </p:nvCxnSpPr>
        <p:spPr>
          <a:xfrm>
            <a:off x="6090776" y="2133600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3411583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200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784BFE5-D82C-4947-8264-E050D1AA1A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87026" y="3054096"/>
            <a:ext cx="2249424" cy="1538144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12C54F8-461A-4493-AD33-67A46B087F16}"/>
              </a:ext>
            </a:extLst>
          </p:cNvPr>
          <p:cNvCxnSpPr>
            <a:cxnSpLocks/>
          </p:cNvCxnSpPr>
          <p:nvPr userDrawn="1"/>
        </p:nvCxnSpPr>
        <p:spPr>
          <a:xfrm>
            <a:off x="8769969" y="2133599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9C5F9AB7-463A-4987-A5FF-CA7E7C1A5E2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694686" y="2133600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6B85A036-9133-4A80-BA91-F7646A2CEE4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373879" y="2133600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B4AE0E28-DA57-4FD1-8C29-D137C334CA56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7053072" y="2133600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4F70E09B-C439-49DB-899C-90886934B6B3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732262" y="2133599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C665EE-5DFF-4FE5-9CCA-4C12435F8B9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527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four sections sho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42D5262-935C-424B-A1BB-733EBA48DEC7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200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A27BB351-6F26-4332-A84E-88EACB17E54C}"/>
              </a:ext>
            </a:extLst>
          </p:cNvPr>
          <p:cNvSpPr/>
          <p:nvPr userDrawn="1"/>
        </p:nvSpPr>
        <p:spPr>
          <a:xfrm>
            <a:off x="952500" y="27432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5CDBFB2-937B-4FCB-BE01-A0ACCAED5F9B}"/>
              </a:ext>
            </a:extLst>
          </p:cNvPr>
          <p:cNvCxnSpPr>
            <a:cxnSpLocks/>
          </p:cNvCxnSpPr>
          <p:nvPr userDrawn="1"/>
        </p:nvCxnSpPr>
        <p:spPr>
          <a:xfrm>
            <a:off x="1256489" y="38862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1AF0A806-01A8-43D4-9F8E-76C735FA79CF}"/>
              </a:ext>
            </a:extLst>
          </p:cNvPr>
          <p:cNvSpPr txBox="1"/>
          <p:nvPr userDrawn="1"/>
        </p:nvSpPr>
        <p:spPr>
          <a:xfrm>
            <a:off x="1698876" y="29338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A153F16E-26BF-42F4-BBB5-BFF6548FCE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00030" y="29338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9CED8CEB-0BA8-462E-AEF3-E7BB5B544F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17895" y="40147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4C4F6C2C-703D-4DEF-9FC2-FD60D0803E9B}"/>
              </a:ext>
            </a:extLst>
          </p:cNvPr>
          <p:cNvSpPr/>
          <p:nvPr userDrawn="1"/>
        </p:nvSpPr>
        <p:spPr>
          <a:xfrm>
            <a:off x="8953502" y="27432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B37315A-244A-456C-A1D9-B68E9470D6A9}"/>
              </a:ext>
            </a:extLst>
          </p:cNvPr>
          <p:cNvCxnSpPr>
            <a:cxnSpLocks/>
          </p:cNvCxnSpPr>
          <p:nvPr userDrawn="1"/>
        </p:nvCxnSpPr>
        <p:spPr>
          <a:xfrm>
            <a:off x="9257491" y="38862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6EDA7342-C993-42E6-A701-E44642D43E73}"/>
              </a:ext>
            </a:extLst>
          </p:cNvPr>
          <p:cNvSpPr txBox="1"/>
          <p:nvPr userDrawn="1"/>
        </p:nvSpPr>
        <p:spPr>
          <a:xfrm>
            <a:off x="9699878" y="29338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4915EE80-6A9E-4F2E-A5B6-151FEFA87D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01032" y="29338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9D06F017-45A8-49F3-9F8A-F7C8A2A2B1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18897" y="40147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61FBF418-2AF6-4B33-BB8F-C39B41045C3B}"/>
              </a:ext>
            </a:extLst>
          </p:cNvPr>
          <p:cNvSpPr/>
          <p:nvPr userDrawn="1"/>
        </p:nvSpPr>
        <p:spPr>
          <a:xfrm>
            <a:off x="3619499" y="27432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647573E-5A91-4534-97D8-3BC3BD72FB6E}"/>
              </a:ext>
            </a:extLst>
          </p:cNvPr>
          <p:cNvCxnSpPr>
            <a:cxnSpLocks/>
          </p:cNvCxnSpPr>
          <p:nvPr userDrawn="1"/>
        </p:nvCxnSpPr>
        <p:spPr>
          <a:xfrm>
            <a:off x="3923488" y="38862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023613BD-FACA-49A0-B10D-B173702249DC}"/>
              </a:ext>
            </a:extLst>
          </p:cNvPr>
          <p:cNvSpPr txBox="1"/>
          <p:nvPr userDrawn="1"/>
        </p:nvSpPr>
        <p:spPr>
          <a:xfrm>
            <a:off x="4365875" y="29338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AF01DBA5-6C07-4546-9547-A6788B1A0F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67029" y="29338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6" name="Text Placeholder 8">
            <a:extLst>
              <a:ext uri="{FF2B5EF4-FFF2-40B4-BE49-F238E27FC236}">
                <a16:creationId xmlns:a16="http://schemas.microsoft.com/office/drawing/2014/main" id="{AF162F6B-9B71-4B68-8754-B28E831C2C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84894" y="40147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9D52676-8F1E-4B7C-A3EE-DC1982A40AD0}"/>
              </a:ext>
            </a:extLst>
          </p:cNvPr>
          <p:cNvSpPr/>
          <p:nvPr userDrawn="1"/>
        </p:nvSpPr>
        <p:spPr>
          <a:xfrm>
            <a:off x="6286502" y="27432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B855AFF-9F82-42E3-9053-B6DCFF9CD71A}"/>
              </a:ext>
            </a:extLst>
          </p:cNvPr>
          <p:cNvCxnSpPr>
            <a:cxnSpLocks/>
          </p:cNvCxnSpPr>
          <p:nvPr userDrawn="1"/>
        </p:nvCxnSpPr>
        <p:spPr>
          <a:xfrm>
            <a:off x="6590491" y="38862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FAB16E83-B2E0-4EE3-B1C3-3DF9FA3CAD07}"/>
              </a:ext>
            </a:extLst>
          </p:cNvPr>
          <p:cNvSpPr txBox="1"/>
          <p:nvPr userDrawn="1"/>
        </p:nvSpPr>
        <p:spPr>
          <a:xfrm>
            <a:off x="7032878" y="29338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3994B86-7742-477E-A070-FA6E7D41BB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34032" y="29338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BAC8B221-BCDD-444D-B6B5-C21CC75C6A5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51897" y="40147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642679-05F3-4CEE-9DEC-25A7C3501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2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57E063-00F8-4772-9EF1-018B9693CAC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3232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con 2 b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E0523B3-2788-43ED-912C-1199F31CEE8F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952500" y="2133600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D1095C2-326F-4B07-9537-022EE363FDE6}"/>
              </a:ext>
            </a:extLst>
          </p:cNvPr>
          <p:cNvCxnSpPr>
            <a:cxnSpLocks/>
          </p:cNvCxnSpPr>
          <p:nvPr userDrawn="1"/>
        </p:nvCxnSpPr>
        <p:spPr>
          <a:xfrm>
            <a:off x="478754" y="4261539"/>
            <a:ext cx="5385816" cy="13281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7C16E5-D917-404D-86B8-B8654CA5FA2F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133600"/>
            <a:ext cx="0" cy="426720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E11B1A4-8682-46B4-B71D-639F6F283E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40908" y="2133600"/>
            <a:ext cx="3895344" cy="144719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5" name="Picture Placeholder 12">
            <a:extLst>
              <a:ext uri="{FF2B5EF4-FFF2-40B4-BE49-F238E27FC236}">
                <a16:creationId xmlns:a16="http://schemas.microsoft.com/office/drawing/2014/main" id="{488EE1EB-DAF4-4787-9A4F-AAF404E7D3F7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952500" y="4480560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FFBD9FC-F2B7-452F-A192-D58AA74A19B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18049" y="4489704"/>
            <a:ext cx="3895344" cy="144719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7041CEB-ACFF-4576-9DB4-492FB45FEA08}"/>
              </a:ext>
            </a:extLst>
          </p:cNvPr>
          <p:cNvCxnSpPr>
            <a:cxnSpLocks/>
          </p:cNvCxnSpPr>
          <p:nvPr userDrawn="1"/>
        </p:nvCxnSpPr>
        <p:spPr>
          <a:xfrm>
            <a:off x="6327648" y="4274820"/>
            <a:ext cx="5356859" cy="1524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D91565BC-C001-401E-8407-0786469597D6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6330915" y="2133600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1E33FE37-BC3E-4B5D-944C-4FCB30F5CD2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344156" y="2124456"/>
            <a:ext cx="3895344" cy="144719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2" name="Picture Placeholder 12">
            <a:extLst>
              <a:ext uri="{FF2B5EF4-FFF2-40B4-BE49-F238E27FC236}">
                <a16:creationId xmlns:a16="http://schemas.microsoft.com/office/drawing/2014/main" id="{1693ED5F-318F-4AF6-98D1-32506A321DB1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6327431" y="4489704"/>
            <a:ext cx="758952" cy="75895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CF9E631E-DAB2-41F5-8C68-6AED40CDDE6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44156" y="4480560"/>
            <a:ext cx="3895344" cy="144719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EEFF6F9D-7767-4765-8935-4A8878A0E5E1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C5C1247-7D5D-4C00-8513-7785618A203D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863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con five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83838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1428" y="309981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521" y="309981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1613" y="309981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2FCCCFE-830E-4385-8BD4-F62833EC1FB9}"/>
              </a:ext>
            </a:extLst>
          </p:cNvPr>
          <p:cNvCxnSpPr/>
          <p:nvPr userDrawn="1"/>
        </p:nvCxnSpPr>
        <p:spPr>
          <a:xfrm>
            <a:off x="961428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20F3659-ACDA-486E-96E8-838064F05A71}"/>
              </a:ext>
            </a:extLst>
          </p:cNvPr>
          <p:cNvCxnSpPr/>
          <p:nvPr userDrawn="1"/>
        </p:nvCxnSpPr>
        <p:spPr>
          <a:xfrm>
            <a:off x="4541521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0B6DC22-F689-4A39-8003-1B70C538DF1A}"/>
              </a:ext>
            </a:extLst>
          </p:cNvPr>
          <p:cNvCxnSpPr/>
          <p:nvPr userDrawn="1"/>
        </p:nvCxnSpPr>
        <p:spPr>
          <a:xfrm>
            <a:off x="8130540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5FCCA60-85C8-4CB0-B86A-A6EDD856EFC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46130" y="5575322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DE0FD0-2A71-405F-9C52-3EEDE15235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26223" y="5575322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784BE29B-5B08-4700-A4E8-2E37A91359C5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2150148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C14EB9C5-F11C-4544-94C4-F04B82362F4B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3943778" y="4596914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AD8AE800-FE4A-4F30-B08A-39A212D6398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5719790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2" name="Picture Placeholder 12">
            <a:extLst>
              <a:ext uri="{FF2B5EF4-FFF2-40B4-BE49-F238E27FC236}">
                <a16:creationId xmlns:a16="http://schemas.microsoft.com/office/drawing/2014/main" id="{26821E79-5750-4AA1-BC62-9E59B69CFDA1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523871" y="4596914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7AE69DAB-A1CF-4426-86A2-1E53A38FBBE9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310332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BD1CFC-4CDF-41D9-A63A-C511222C8DFF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AD2ACCC-0513-41E9-8C7B-B656B47B539E}"/>
              </a:ext>
            </a:extLst>
          </p:cNvPr>
          <p:cNvCxnSpPr>
            <a:cxnSpLocks/>
          </p:cNvCxnSpPr>
          <p:nvPr userDrawn="1"/>
        </p:nvCxnSpPr>
        <p:spPr>
          <a:xfrm>
            <a:off x="4300729" y="2133601"/>
            <a:ext cx="185" cy="191198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3F4F180-F117-4F60-848F-A4EED36C86A9}"/>
              </a:ext>
            </a:extLst>
          </p:cNvPr>
          <p:cNvCxnSpPr>
            <a:cxnSpLocks/>
          </p:cNvCxnSpPr>
          <p:nvPr userDrawn="1"/>
        </p:nvCxnSpPr>
        <p:spPr>
          <a:xfrm>
            <a:off x="7891086" y="2133600"/>
            <a:ext cx="185" cy="191198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FC6F872-8463-4A5A-BD96-7AE6396EF322}"/>
              </a:ext>
            </a:extLst>
          </p:cNvPr>
          <p:cNvCxnSpPr>
            <a:cxnSpLocks/>
          </p:cNvCxnSpPr>
          <p:nvPr userDrawn="1"/>
        </p:nvCxnSpPr>
        <p:spPr>
          <a:xfrm>
            <a:off x="6090497" y="4488812"/>
            <a:ext cx="185" cy="191198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3721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con six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83838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1428" y="309981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EC3ECFD-ED5A-4A7A-9D2B-7267D7B1C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521" y="309981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6C3A2D7-5AF5-4A30-BEF2-E2E2E689DF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1613" y="309981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E2CBE2-0D36-4C4D-86CB-371784F5C7A0}"/>
              </a:ext>
            </a:extLst>
          </p:cNvPr>
          <p:cNvCxnSpPr>
            <a:cxnSpLocks/>
          </p:cNvCxnSpPr>
          <p:nvPr userDrawn="1"/>
        </p:nvCxnSpPr>
        <p:spPr>
          <a:xfrm>
            <a:off x="7880822" y="2133600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C4C1CE8-C33C-441E-A669-1BAF051C7802}"/>
              </a:ext>
            </a:extLst>
          </p:cNvPr>
          <p:cNvCxnSpPr>
            <a:cxnSpLocks/>
          </p:cNvCxnSpPr>
          <p:nvPr userDrawn="1"/>
        </p:nvCxnSpPr>
        <p:spPr>
          <a:xfrm>
            <a:off x="4300729" y="2133601"/>
            <a:ext cx="10451" cy="426719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2FCCCFE-830E-4385-8BD4-F62833EC1FB9}"/>
              </a:ext>
            </a:extLst>
          </p:cNvPr>
          <p:cNvCxnSpPr/>
          <p:nvPr userDrawn="1"/>
        </p:nvCxnSpPr>
        <p:spPr>
          <a:xfrm>
            <a:off x="961428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20F3659-ACDA-486E-96E8-838064F05A71}"/>
              </a:ext>
            </a:extLst>
          </p:cNvPr>
          <p:cNvCxnSpPr/>
          <p:nvPr userDrawn="1"/>
        </p:nvCxnSpPr>
        <p:spPr>
          <a:xfrm>
            <a:off x="4541521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0B6DC22-F689-4A39-8003-1B70C538DF1A}"/>
              </a:ext>
            </a:extLst>
          </p:cNvPr>
          <p:cNvCxnSpPr/>
          <p:nvPr userDrawn="1"/>
        </p:nvCxnSpPr>
        <p:spPr>
          <a:xfrm>
            <a:off x="8130540" y="4267200"/>
            <a:ext cx="311788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5FCCA60-85C8-4CB0-B86A-A6EDD856EFC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2500" y="547725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DE0FD0-2A71-405F-9C52-3EEDE15235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2593" y="547725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3ACAAB46-FDC8-4A20-90E9-531C9CC12A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12685" y="5477256"/>
            <a:ext cx="3108960" cy="825478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784BE29B-5B08-4700-A4E8-2E37A91359C5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2150148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8" name="Picture Placeholder 12">
            <a:extLst>
              <a:ext uri="{FF2B5EF4-FFF2-40B4-BE49-F238E27FC236}">
                <a16:creationId xmlns:a16="http://schemas.microsoft.com/office/drawing/2014/main" id="{C14EB9C5-F11C-4544-94C4-F04B82362F4B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2150148" y="4498848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AD8AE800-FE4A-4F30-B08A-39A212D63984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5719790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2" name="Picture Placeholder 12">
            <a:extLst>
              <a:ext uri="{FF2B5EF4-FFF2-40B4-BE49-F238E27FC236}">
                <a16:creationId xmlns:a16="http://schemas.microsoft.com/office/drawing/2014/main" id="{26821E79-5750-4AA1-BC62-9E59B69CFDA1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5730241" y="4498848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7AE69DAB-A1CF-4426-86A2-1E53A38FBBE9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310332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4" name="Picture Placeholder 12">
            <a:extLst>
              <a:ext uri="{FF2B5EF4-FFF2-40B4-BE49-F238E27FC236}">
                <a16:creationId xmlns:a16="http://schemas.microsoft.com/office/drawing/2014/main" id="{02A04F72-B967-4FC9-9771-49A17D170A9E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9310332" y="4498848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BD1CFC-4CDF-41D9-A63A-C511222C8DFF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478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con 8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97452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2500" y="309981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A4292E-6E40-48CF-B0DC-6372AE92B80B}"/>
              </a:ext>
            </a:extLst>
          </p:cNvPr>
          <p:cNvGrpSpPr/>
          <p:nvPr userDrawn="1"/>
        </p:nvGrpSpPr>
        <p:grpSpPr>
          <a:xfrm>
            <a:off x="3411581" y="2133599"/>
            <a:ext cx="5368837" cy="4267201"/>
            <a:chOff x="3411583" y="2133599"/>
            <a:chExt cx="5368837" cy="4267201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8E2CBE2-0D36-4C4D-86CB-371784F5C7A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0776" y="2133600"/>
              <a:ext cx="10451" cy="426719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C4C1CE8-C33C-441E-A669-1BAF051C78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411583" y="2133601"/>
              <a:ext cx="10451" cy="426719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12C54F8-461A-4493-AD33-67A46B087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69969" y="2133599"/>
              <a:ext cx="10451" cy="426719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F03F7C7-5E4F-4AF8-99FF-2ED5C80BC8F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38661" y="309981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B5803BC-F9B7-4ADF-8D9A-02BBBDCC24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29942" y="309981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494C025-8E35-49F8-953C-A6B78A8942D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00530" y="309981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14DD79-81E1-4C18-AC91-69C24F2C9C4A}"/>
              </a:ext>
            </a:extLst>
          </p:cNvPr>
          <p:cNvCxnSpPr>
            <a:cxnSpLocks/>
          </p:cNvCxnSpPr>
          <p:nvPr userDrawn="1"/>
        </p:nvCxnSpPr>
        <p:spPr>
          <a:xfrm>
            <a:off x="964588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389C07-CDAA-4EF4-81A8-28600CDA326D}"/>
              </a:ext>
            </a:extLst>
          </p:cNvPr>
          <p:cNvCxnSpPr>
            <a:cxnSpLocks/>
          </p:cNvCxnSpPr>
          <p:nvPr userDrawn="1"/>
        </p:nvCxnSpPr>
        <p:spPr>
          <a:xfrm>
            <a:off x="3643235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018BAF7-E944-4C5B-841B-6D07AD39BE0B}"/>
              </a:ext>
            </a:extLst>
          </p:cNvPr>
          <p:cNvCxnSpPr>
            <a:cxnSpLocks/>
          </p:cNvCxnSpPr>
          <p:nvPr userDrawn="1"/>
        </p:nvCxnSpPr>
        <p:spPr>
          <a:xfrm>
            <a:off x="6321882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0660FD7-061F-4815-A2B8-1A9171A8C535}"/>
              </a:ext>
            </a:extLst>
          </p:cNvPr>
          <p:cNvCxnSpPr>
            <a:cxnSpLocks/>
          </p:cNvCxnSpPr>
          <p:nvPr userDrawn="1"/>
        </p:nvCxnSpPr>
        <p:spPr>
          <a:xfrm>
            <a:off x="9000530" y="4267199"/>
            <a:ext cx="22373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878EE201-6F6E-46E0-B2AC-D0570C83D61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4588" y="547725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F1451F72-A88B-4072-822A-EDC4DCC7A7E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650749" y="547725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DA68EFC4-470A-4D36-A251-03AD7863CEB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29942" y="547725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5E9C8046-8366-484E-B700-22ED750588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012618" y="5477256"/>
            <a:ext cx="2249424" cy="809952"/>
          </a:xfrm>
        </p:spPr>
        <p:txBody>
          <a:bodyPr>
            <a:noAutofit/>
          </a:bodyPr>
          <a:lstStyle>
            <a:lvl1pPr algn="ctr">
              <a:defRPr sz="1800"/>
            </a:lvl1pPr>
            <a:lvl2pPr algn="ctr">
              <a:defRPr sz="18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.</a:t>
            </a:r>
          </a:p>
        </p:txBody>
      </p:sp>
      <p:sp>
        <p:nvSpPr>
          <p:cNvPr id="48" name="Picture Placeholder 12">
            <a:extLst>
              <a:ext uri="{FF2B5EF4-FFF2-40B4-BE49-F238E27FC236}">
                <a16:creationId xmlns:a16="http://schemas.microsoft.com/office/drawing/2014/main" id="{5AF0F26C-C4FA-4B4C-BE5F-FABEE1D66A95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1711452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9" name="Picture Placeholder 12">
            <a:extLst>
              <a:ext uri="{FF2B5EF4-FFF2-40B4-BE49-F238E27FC236}">
                <a16:creationId xmlns:a16="http://schemas.microsoft.com/office/drawing/2014/main" id="{9C3FCBB2-9E80-4B7A-8C78-074DAF7846AB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1768602" y="4498848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50" name="Picture Placeholder 12">
            <a:extLst>
              <a:ext uri="{FF2B5EF4-FFF2-40B4-BE49-F238E27FC236}">
                <a16:creationId xmlns:a16="http://schemas.microsoft.com/office/drawing/2014/main" id="{271E2035-0AFD-469F-A9C2-2A3A61BC9FB9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4397613" y="2133599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51" name="Picture Placeholder 12">
            <a:extLst>
              <a:ext uri="{FF2B5EF4-FFF2-40B4-BE49-F238E27FC236}">
                <a16:creationId xmlns:a16="http://schemas.microsoft.com/office/drawing/2014/main" id="{1EC1D056-226D-4CAC-9267-80536B555BDF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4454763" y="4498848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52" name="Picture Placeholder 12">
            <a:extLst>
              <a:ext uri="{FF2B5EF4-FFF2-40B4-BE49-F238E27FC236}">
                <a16:creationId xmlns:a16="http://schemas.microsoft.com/office/drawing/2014/main" id="{59DD9AA8-4AB8-43C0-A7A2-8023DA0D94D9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7088894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53" name="Picture Placeholder 12">
            <a:extLst>
              <a:ext uri="{FF2B5EF4-FFF2-40B4-BE49-F238E27FC236}">
                <a16:creationId xmlns:a16="http://schemas.microsoft.com/office/drawing/2014/main" id="{5829C865-3A41-4177-BBCA-D4798190655C}"/>
              </a:ext>
            </a:extLst>
          </p:cNvPr>
          <p:cNvSpPr>
            <a:spLocks noGrp="1" noChangeAspect="1"/>
          </p:cNvSpPr>
          <p:nvPr>
            <p:ph type="pic" sz="quarter" idx="44"/>
          </p:nvPr>
        </p:nvSpPr>
        <p:spPr>
          <a:xfrm>
            <a:off x="7146044" y="4498848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54" name="Picture Placeholder 12">
            <a:extLst>
              <a:ext uri="{FF2B5EF4-FFF2-40B4-BE49-F238E27FC236}">
                <a16:creationId xmlns:a16="http://schemas.microsoft.com/office/drawing/2014/main" id="{59B443DF-6115-4F80-B2F9-56ACC5CCDFF8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9759482" y="2133600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55" name="Picture Placeholder 12">
            <a:extLst>
              <a:ext uri="{FF2B5EF4-FFF2-40B4-BE49-F238E27FC236}">
                <a16:creationId xmlns:a16="http://schemas.microsoft.com/office/drawing/2014/main" id="{934A5AC9-F10C-4DBF-95EF-2685C6EE8A54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>
          <a:xfrm>
            <a:off x="9816632" y="4498848"/>
            <a:ext cx="731520" cy="73152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2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AE85F0-573F-4F9F-86C8-0DA5C1586A4C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183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vertic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C3C63-6EB1-4AF9-AD8B-692230121E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4589" y="1828800"/>
            <a:ext cx="4220185" cy="3963988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unc sit </a:t>
            </a:r>
            <a:r>
              <a:rPr lang="en-US" err="1"/>
              <a:t>amet</a:t>
            </a:r>
            <a:r>
              <a:rPr lang="en-US"/>
              <a:t> nisi </a:t>
            </a:r>
            <a:r>
              <a:rPr lang="en-US" err="1"/>
              <a:t>interdum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 vel, </a:t>
            </a:r>
            <a:r>
              <a:rPr lang="en-US" err="1"/>
              <a:t>malesuada</a:t>
            </a:r>
            <a:r>
              <a:rPr lang="en-US"/>
              <a:t> nisi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vestibulum magna. Duis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cursus at in </a:t>
            </a:r>
            <a:r>
              <a:rPr lang="en-US" err="1"/>
              <a:t>ero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mi at cursus </a:t>
            </a:r>
            <a:r>
              <a:rPr lang="en-US" err="1"/>
              <a:t>iaculis</a:t>
            </a:r>
            <a:r>
              <a:rPr lang="en-US"/>
              <a:t>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D776FE2-B608-4FB0-8891-7F99A552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422018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FE4E697-E1A5-47CE-A996-A9463E080061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0E70EF5-3A9D-4C99-A03A-F2D2ADFFE6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/>
          <a:lstStyle>
            <a:lvl1pPr>
              <a:defRPr sz="1800" b="0"/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E970F-BF61-4C4D-8D46-11510DC6B48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313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round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C3C63-6EB1-4AF9-AD8B-692230121E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4590" y="1828800"/>
            <a:ext cx="4220184" cy="3963988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unc sit </a:t>
            </a:r>
            <a:r>
              <a:rPr lang="en-US" err="1"/>
              <a:t>amet</a:t>
            </a:r>
            <a:r>
              <a:rPr lang="en-US"/>
              <a:t> nisi </a:t>
            </a:r>
            <a:r>
              <a:rPr lang="en-US" err="1"/>
              <a:t>interdum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 vel, </a:t>
            </a:r>
            <a:r>
              <a:rPr lang="en-US" err="1"/>
              <a:t>malesuada</a:t>
            </a:r>
            <a:r>
              <a:rPr lang="en-US"/>
              <a:t> nisi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vestibulum magna. Duis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cursus at in </a:t>
            </a:r>
            <a:r>
              <a:rPr lang="en-US" err="1"/>
              <a:t>ero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mi at cursus </a:t>
            </a:r>
            <a:r>
              <a:rPr lang="en-US" err="1"/>
              <a:t>iaculis</a:t>
            </a:r>
            <a:r>
              <a:rPr lang="en-US"/>
              <a:t>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D776FE2-B608-4FB0-8891-7F99A552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422018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FE4E697-E1A5-47CE-A996-A9463E080061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81B4127-57FC-4B6B-A49F-B880016B84A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105206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1052060 w 6096000"/>
              <a:gd name="connsiteY3" fmla="*/ 6858000 h 6858000"/>
              <a:gd name="connsiteX4" fmla="*/ 1038574 w 6096000"/>
              <a:gd name="connsiteY4" fmla="*/ 6839036 h 6858000"/>
              <a:gd name="connsiteX5" fmla="*/ 4888 w 6096000"/>
              <a:gd name="connsiteY5" fmla="*/ 3742856 h 6858000"/>
              <a:gd name="connsiteX6" fmla="*/ 0 w 6096000"/>
              <a:gd name="connsiteY6" fmla="*/ 3549540 h 6858000"/>
              <a:gd name="connsiteX7" fmla="*/ 0 w 6096000"/>
              <a:gd name="connsiteY7" fmla="*/ 3308460 h 6858000"/>
              <a:gd name="connsiteX8" fmla="*/ 4888 w 6096000"/>
              <a:gd name="connsiteY8" fmla="*/ 3115144 h 6858000"/>
              <a:gd name="connsiteX9" fmla="*/ 1038574 w 6096000"/>
              <a:gd name="connsiteY9" fmla="*/ 1896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105206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1052060" y="6858000"/>
                </a:lnTo>
                <a:lnTo>
                  <a:pt x="1038574" y="6839036"/>
                </a:lnTo>
                <a:cubicBezTo>
                  <a:pt x="435750" y="5946739"/>
                  <a:pt x="62852" y="4886343"/>
                  <a:pt x="4888" y="3742856"/>
                </a:cubicBezTo>
                <a:lnTo>
                  <a:pt x="0" y="3549540"/>
                </a:lnTo>
                <a:lnTo>
                  <a:pt x="0" y="3308460"/>
                </a:lnTo>
                <a:lnTo>
                  <a:pt x="4888" y="3115144"/>
                </a:lnTo>
                <a:cubicBezTo>
                  <a:pt x="62852" y="1971657"/>
                  <a:pt x="435750" y="911261"/>
                  <a:pt x="1038574" y="18964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800" b="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A6DE11-2378-4522-9D98-52348E1999D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996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logo m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C3C63-6EB1-4AF9-AD8B-692230121E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500" y="1828800"/>
            <a:ext cx="4232274" cy="3963988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unc sit </a:t>
            </a:r>
            <a:r>
              <a:rPr lang="en-US" err="1"/>
              <a:t>amet</a:t>
            </a:r>
            <a:r>
              <a:rPr lang="en-US"/>
              <a:t> nisi </a:t>
            </a:r>
            <a:r>
              <a:rPr lang="en-US" err="1"/>
              <a:t>interdum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 vel, </a:t>
            </a:r>
            <a:r>
              <a:rPr lang="en-US" err="1"/>
              <a:t>malesuada</a:t>
            </a:r>
            <a:r>
              <a:rPr lang="en-US"/>
              <a:t> nisi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vestibulum magna. Duis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cursus at in </a:t>
            </a:r>
            <a:r>
              <a:rPr lang="en-US" err="1"/>
              <a:t>ero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mi at cursus </a:t>
            </a:r>
            <a:r>
              <a:rPr lang="en-US" err="1"/>
              <a:t>iaculis</a:t>
            </a:r>
            <a:r>
              <a:rPr lang="en-US"/>
              <a:t>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D776FE2-B608-4FB0-8891-7F99A552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422018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FE4E697-E1A5-47CE-A996-A9463E080061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6659125-985D-4062-94FB-573A897D23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47820" y="457200"/>
            <a:ext cx="4391680" cy="5953822"/>
          </a:xfrm>
          <a:custGeom>
            <a:avLst/>
            <a:gdLst>
              <a:gd name="connsiteX0" fmla="*/ 1650564 w 4391680"/>
              <a:gd name="connsiteY0" fmla="*/ 0 h 5953822"/>
              <a:gd name="connsiteX1" fmla="*/ 2303740 w 4391680"/>
              <a:gd name="connsiteY1" fmla="*/ 0 h 5953822"/>
              <a:gd name="connsiteX2" fmla="*/ 2726383 w 4391680"/>
              <a:gd name="connsiteY2" fmla="*/ 422530 h 5953822"/>
              <a:gd name="connsiteX3" fmla="*/ 2726383 w 4391680"/>
              <a:gd name="connsiteY3" fmla="*/ 5531293 h 5953822"/>
              <a:gd name="connsiteX4" fmla="*/ 2303740 w 4391680"/>
              <a:gd name="connsiteY4" fmla="*/ 5953822 h 5953822"/>
              <a:gd name="connsiteX5" fmla="*/ 2073207 w 4391680"/>
              <a:gd name="connsiteY5" fmla="*/ 5953822 h 5953822"/>
              <a:gd name="connsiteX6" fmla="*/ 1650564 w 4391680"/>
              <a:gd name="connsiteY6" fmla="*/ 5531293 h 5953822"/>
              <a:gd name="connsiteX7" fmla="*/ 1650564 w 4391680"/>
              <a:gd name="connsiteY7" fmla="*/ 0 h 5953822"/>
              <a:gd name="connsiteX8" fmla="*/ 0 w 4391680"/>
              <a:gd name="connsiteY8" fmla="*/ 0 h 5953822"/>
              <a:gd name="connsiteX9" fmla="*/ 620057 w 4391680"/>
              <a:gd name="connsiteY9" fmla="*/ 0 h 5953822"/>
              <a:gd name="connsiteX10" fmla="*/ 1046345 w 4391680"/>
              <a:gd name="connsiteY10" fmla="*/ 422529 h 5953822"/>
              <a:gd name="connsiteX11" fmla="*/ 1046345 w 4391680"/>
              <a:gd name="connsiteY11" fmla="*/ 5531293 h 5953822"/>
              <a:gd name="connsiteX12" fmla="*/ 620057 w 4391680"/>
              <a:gd name="connsiteY12" fmla="*/ 5953822 h 5953822"/>
              <a:gd name="connsiteX13" fmla="*/ 426289 w 4391680"/>
              <a:gd name="connsiteY13" fmla="*/ 5953822 h 5953822"/>
              <a:gd name="connsiteX14" fmla="*/ 0 w 4391680"/>
              <a:gd name="connsiteY14" fmla="*/ 5531293 h 5953822"/>
              <a:gd name="connsiteX15" fmla="*/ 0 w 4391680"/>
              <a:gd name="connsiteY15" fmla="*/ 0 h 5953822"/>
              <a:gd name="connsiteX16" fmla="*/ 3345335 w 4391680"/>
              <a:gd name="connsiteY16" fmla="*/ 0 h 5953822"/>
              <a:gd name="connsiteX17" fmla="*/ 3965391 w 4391680"/>
              <a:gd name="connsiteY17" fmla="*/ 0 h 5953822"/>
              <a:gd name="connsiteX18" fmla="*/ 4391680 w 4391680"/>
              <a:gd name="connsiteY18" fmla="*/ 422529 h 5953822"/>
              <a:gd name="connsiteX19" fmla="*/ 4391680 w 4391680"/>
              <a:gd name="connsiteY19" fmla="*/ 5531293 h 5953822"/>
              <a:gd name="connsiteX20" fmla="*/ 3965391 w 4391680"/>
              <a:gd name="connsiteY20" fmla="*/ 5953822 h 5953822"/>
              <a:gd name="connsiteX21" fmla="*/ 3771624 w 4391680"/>
              <a:gd name="connsiteY21" fmla="*/ 5953822 h 5953822"/>
              <a:gd name="connsiteX22" fmla="*/ 3345335 w 4391680"/>
              <a:gd name="connsiteY22" fmla="*/ 5531293 h 5953822"/>
              <a:gd name="connsiteX23" fmla="*/ 3345335 w 4391680"/>
              <a:gd name="connsiteY23" fmla="*/ 0 h 5953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391680" h="5953822">
                <a:moveTo>
                  <a:pt x="1650564" y="0"/>
                </a:moveTo>
                <a:lnTo>
                  <a:pt x="2303740" y="0"/>
                </a:lnTo>
                <a:cubicBezTo>
                  <a:pt x="2726383" y="0"/>
                  <a:pt x="2726383" y="422530"/>
                  <a:pt x="2726383" y="422530"/>
                </a:cubicBezTo>
                <a:cubicBezTo>
                  <a:pt x="2726383" y="422530"/>
                  <a:pt x="2726383" y="422530"/>
                  <a:pt x="2726383" y="5531293"/>
                </a:cubicBezTo>
                <a:cubicBezTo>
                  <a:pt x="2726383" y="5953822"/>
                  <a:pt x="2303740" y="5953822"/>
                  <a:pt x="2303740" y="5953822"/>
                </a:cubicBezTo>
                <a:cubicBezTo>
                  <a:pt x="2303740" y="5953822"/>
                  <a:pt x="2303740" y="5953822"/>
                  <a:pt x="2073207" y="5953822"/>
                </a:cubicBezTo>
                <a:cubicBezTo>
                  <a:pt x="1650564" y="5953822"/>
                  <a:pt x="1650564" y="5531293"/>
                  <a:pt x="1650564" y="5531293"/>
                </a:cubicBezTo>
                <a:cubicBezTo>
                  <a:pt x="1650564" y="5531293"/>
                  <a:pt x="1650564" y="5531293"/>
                  <a:pt x="1650564" y="0"/>
                </a:cubicBezTo>
                <a:close/>
                <a:moveTo>
                  <a:pt x="0" y="0"/>
                </a:moveTo>
                <a:lnTo>
                  <a:pt x="620057" y="0"/>
                </a:lnTo>
                <a:cubicBezTo>
                  <a:pt x="1046345" y="0"/>
                  <a:pt x="1046345" y="422529"/>
                  <a:pt x="1046345" y="422529"/>
                </a:cubicBezTo>
                <a:cubicBezTo>
                  <a:pt x="1046345" y="422529"/>
                  <a:pt x="1046345" y="422529"/>
                  <a:pt x="1046345" y="5531293"/>
                </a:cubicBezTo>
                <a:cubicBezTo>
                  <a:pt x="1046345" y="5953822"/>
                  <a:pt x="620057" y="5953822"/>
                  <a:pt x="620057" y="5953822"/>
                </a:cubicBezTo>
                <a:cubicBezTo>
                  <a:pt x="620057" y="5953822"/>
                  <a:pt x="620057" y="5953822"/>
                  <a:pt x="426289" y="5953822"/>
                </a:cubicBezTo>
                <a:cubicBezTo>
                  <a:pt x="0" y="5953822"/>
                  <a:pt x="0" y="5531293"/>
                  <a:pt x="0" y="5531293"/>
                </a:cubicBezTo>
                <a:cubicBezTo>
                  <a:pt x="0" y="5531293"/>
                  <a:pt x="0" y="5531293"/>
                  <a:pt x="0" y="0"/>
                </a:cubicBezTo>
                <a:close/>
                <a:moveTo>
                  <a:pt x="3345335" y="0"/>
                </a:moveTo>
                <a:lnTo>
                  <a:pt x="3965391" y="0"/>
                </a:lnTo>
                <a:cubicBezTo>
                  <a:pt x="4391680" y="0"/>
                  <a:pt x="4391680" y="422529"/>
                  <a:pt x="4391680" y="422529"/>
                </a:cubicBezTo>
                <a:cubicBezTo>
                  <a:pt x="4391680" y="422529"/>
                  <a:pt x="4391680" y="422529"/>
                  <a:pt x="4391680" y="5531293"/>
                </a:cubicBezTo>
                <a:cubicBezTo>
                  <a:pt x="4391680" y="5953822"/>
                  <a:pt x="3965391" y="5953822"/>
                  <a:pt x="3965391" y="5953822"/>
                </a:cubicBezTo>
                <a:cubicBezTo>
                  <a:pt x="3965391" y="5953822"/>
                  <a:pt x="3965391" y="5953822"/>
                  <a:pt x="3771624" y="5953822"/>
                </a:cubicBezTo>
                <a:cubicBezTo>
                  <a:pt x="3345335" y="5953822"/>
                  <a:pt x="3345335" y="5531293"/>
                  <a:pt x="3345335" y="5531293"/>
                </a:cubicBezTo>
                <a:cubicBezTo>
                  <a:pt x="3345335" y="5531293"/>
                  <a:pt x="3345335" y="5531293"/>
                  <a:pt x="334533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 sz="1800" b="0"/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218A94-5DD2-49CC-8F7B-BA306D7DFB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433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horizont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C3C63-6EB1-4AF9-AD8B-692230121E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552" y="3912164"/>
            <a:ext cx="4917948" cy="2477831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unc sit </a:t>
            </a:r>
            <a:r>
              <a:rPr lang="en-US" err="1"/>
              <a:t>amet</a:t>
            </a:r>
            <a:r>
              <a:rPr lang="en-US"/>
              <a:t> nisi </a:t>
            </a:r>
            <a:r>
              <a:rPr lang="en-US" err="1"/>
              <a:t>interdum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 vel, </a:t>
            </a:r>
            <a:r>
              <a:rPr lang="en-US" err="1"/>
              <a:t>malesuada</a:t>
            </a:r>
            <a:r>
              <a:rPr lang="en-US"/>
              <a:t> nisi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vestibulum magna. Duis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cursus at in </a:t>
            </a:r>
            <a:r>
              <a:rPr lang="en-US" err="1"/>
              <a:t>eros</a:t>
            </a:r>
            <a:r>
              <a:rPr lang="en-US"/>
              <a:t>.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90F5218-AA52-43C9-B9CC-5554E8D4B6AA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3922968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62A67A-4624-4B4E-BA20-45F8F5FB2D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4173342"/>
            <a:ext cx="490118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ING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50B81C-7907-4FEA-AED6-D50E0CC9183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3429000"/>
          </a:xfrm>
          <a:solidFill>
            <a:schemeClr val="tx2"/>
          </a:solidFill>
        </p:spPr>
        <p:txBody>
          <a:bodyPr/>
          <a:lstStyle>
            <a:lvl1pPr>
              <a:defRPr sz="1800" b="0"/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39B8DB-BE90-4263-9EC5-FC449D79B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259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958442-05F7-4F14-80B6-F5F22C51D3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521839E-A863-46D7-907C-739ABF568A9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626046-C227-4DF8-BFDF-9E261212A7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590" y="4962256"/>
            <a:ext cx="4901183" cy="14385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5FE52862-C4F0-4AB4-98A3-6E6E0675D12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4590" y="2133600"/>
            <a:ext cx="4901184" cy="259689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C869B65A-8CF0-43D9-9844-5086D213B783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6338316" y="2133599"/>
            <a:ext cx="4901184" cy="2596895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4EC4060-CFAF-4C79-8616-F69C6B22716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38316" y="4962256"/>
            <a:ext cx="4901183" cy="14385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C824F6-1AAD-455E-B4DA-0336382CBA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0207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ex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958442-05F7-4F14-80B6-F5F22C51D3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521839E-A863-46D7-907C-739ABF568A9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626046-C227-4DF8-BFDF-9E261212A7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590" y="4416552"/>
            <a:ext cx="3108960" cy="15381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5FE52862-C4F0-4AB4-98A3-6E6E0675D12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964590" y="2133600"/>
            <a:ext cx="3108960" cy="203018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EEF1DB1B-074A-4FD7-8077-DADC522ADDF9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4539599" y="2133600"/>
            <a:ext cx="3108960" cy="203018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C8DE10AD-4E93-479D-BF89-56E3F6CA7B94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8114608" y="2133600"/>
            <a:ext cx="3124100" cy="203018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D6BD46B-FA8C-459D-A3C3-19A5CA0FB8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45241" y="4416552"/>
            <a:ext cx="3108960" cy="15381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B13FC73-06F7-49D1-A362-E3750CCF3FB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14608" y="4416552"/>
            <a:ext cx="3108960" cy="15381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 </a:t>
            </a:r>
            <a:r>
              <a:rPr lang="en-US" err="1"/>
              <a:t>eget</a:t>
            </a:r>
            <a:r>
              <a:rPr lang="en-US"/>
              <a:t>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1DF65C-BDCB-4E4E-86DF-B4A53CF655EC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405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five sections sho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A34C3-9E74-4E85-8962-CC423B3EC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TABLE OF CONTENT WITH SHORT SECTION NAM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42D5262-935C-424B-A1BB-733EBA48DEC7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DD4AD50-406F-4032-A4A4-998C2E88ADF6}"/>
              </a:ext>
            </a:extLst>
          </p:cNvPr>
          <p:cNvSpPr/>
          <p:nvPr userDrawn="1"/>
        </p:nvSpPr>
        <p:spPr>
          <a:xfrm>
            <a:off x="2292413" y="1844644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FF18A0-C66C-4929-B799-85A4844059A6}"/>
              </a:ext>
            </a:extLst>
          </p:cNvPr>
          <p:cNvCxnSpPr>
            <a:cxnSpLocks/>
          </p:cNvCxnSpPr>
          <p:nvPr userDrawn="1"/>
        </p:nvCxnSpPr>
        <p:spPr>
          <a:xfrm>
            <a:off x="2596402" y="2987644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8F2BE3FD-D387-4DEF-A525-77A67AB1DDA6}"/>
              </a:ext>
            </a:extLst>
          </p:cNvPr>
          <p:cNvSpPr txBox="1"/>
          <p:nvPr userDrawn="1"/>
        </p:nvSpPr>
        <p:spPr>
          <a:xfrm>
            <a:off x="3038789" y="2035312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9DD118F-EA77-44D8-87FB-B4DFF03C28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39943" y="2035312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BEAA3689-E11D-4CCC-A6D8-C2F0AE6A56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808" y="3116232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4B19160-B903-407F-A0C9-1AF372EE4235}"/>
              </a:ext>
            </a:extLst>
          </p:cNvPr>
          <p:cNvSpPr/>
          <p:nvPr userDrawn="1"/>
        </p:nvSpPr>
        <p:spPr>
          <a:xfrm>
            <a:off x="4959412" y="1844644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7FA90CA-A47E-496E-A320-94255CF5FC41}"/>
              </a:ext>
            </a:extLst>
          </p:cNvPr>
          <p:cNvCxnSpPr>
            <a:cxnSpLocks/>
          </p:cNvCxnSpPr>
          <p:nvPr userDrawn="1"/>
        </p:nvCxnSpPr>
        <p:spPr>
          <a:xfrm>
            <a:off x="5263401" y="2987644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8C992CE7-1E1F-466B-A11F-146D0A435D49}"/>
              </a:ext>
            </a:extLst>
          </p:cNvPr>
          <p:cNvSpPr txBox="1"/>
          <p:nvPr userDrawn="1"/>
        </p:nvSpPr>
        <p:spPr>
          <a:xfrm>
            <a:off x="5705788" y="2035312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29834F68-CF78-424D-ACE8-3FD79540924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06942" y="2035312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A7B359A9-D2D2-4E7E-BF2B-E5AA8D2F72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24807" y="3116232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D0A86B9C-712B-46AA-AFD5-712CDEA6C2E3}"/>
              </a:ext>
            </a:extLst>
          </p:cNvPr>
          <p:cNvSpPr/>
          <p:nvPr userDrawn="1"/>
        </p:nvSpPr>
        <p:spPr>
          <a:xfrm>
            <a:off x="7626415" y="1844644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D44C205-283C-434F-9EFE-A76F1C778992}"/>
              </a:ext>
            </a:extLst>
          </p:cNvPr>
          <p:cNvCxnSpPr>
            <a:cxnSpLocks/>
          </p:cNvCxnSpPr>
          <p:nvPr userDrawn="1"/>
        </p:nvCxnSpPr>
        <p:spPr>
          <a:xfrm>
            <a:off x="7930404" y="2987644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51E0AECA-A4B3-4B94-9F9F-7E8C53FEED5C}"/>
              </a:ext>
            </a:extLst>
          </p:cNvPr>
          <p:cNvSpPr txBox="1"/>
          <p:nvPr userDrawn="1"/>
        </p:nvSpPr>
        <p:spPr>
          <a:xfrm>
            <a:off x="8372791" y="2035312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AAA3D6D3-90F4-4A38-AFED-04E4480F621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73945" y="2035312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2974EC07-FA27-4EF7-B850-032A23B7AD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91810" y="3116232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5216FFA-2C9D-43DD-A569-073F43A8DB29}"/>
              </a:ext>
            </a:extLst>
          </p:cNvPr>
          <p:cNvSpPr/>
          <p:nvPr userDrawn="1"/>
        </p:nvSpPr>
        <p:spPr>
          <a:xfrm>
            <a:off x="3619498" y="4130644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A2596AD-E879-455F-ACEB-181D32E8A498}"/>
              </a:ext>
            </a:extLst>
          </p:cNvPr>
          <p:cNvCxnSpPr>
            <a:cxnSpLocks/>
          </p:cNvCxnSpPr>
          <p:nvPr userDrawn="1"/>
        </p:nvCxnSpPr>
        <p:spPr>
          <a:xfrm>
            <a:off x="3923487" y="5273644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ED6856C-88AE-4505-A433-B790477FBC6C}"/>
              </a:ext>
            </a:extLst>
          </p:cNvPr>
          <p:cNvSpPr txBox="1"/>
          <p:nvPr userDrawn="1"/>
        </p:nvSpPr>
        <p:spPr>
          <a:xfrm>
            <a:off x="4365874" y="4321312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CF93113A-B954-40D8-AB37-B05E75EFCAB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67028" y="4321312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25AD9B9A-14FF-41FB-B84E-6158D8B005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884893" y="5402232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16348D5-EF0D-4C9E-B1DA-412EB6926990}"/>
              </a:ext>
            </a:extLst>
          </p:cNvPr>
          <p:cNvSpPr/>
          <p:nvPr userDrawn="1"/>
        </p:nvSpPr>
        <p:spPr>
          <a:xfrm>
            <a:off x="6286497" y="4130644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1653D63-772D-48B5-9FDF-AB2309979F52}"/>
              </a:ext>
            </a:extLst>
          </p:cNvPr>
          <p:cNvCxnSpPr>
            <a:cxnSpLocks/>
          </p:cNvCxnSpPr>
          <p:nvPr userDrawn="1"/>
        </p:nvCxnSpPr>
        <p:spPr>
          <a:xfrm>
            <a:off x="6590486" y="5273644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38B7E326-12ED-4EDE-BDC6-D2BC48DF2D80}"/>
              </a:ext>
            </a:extLst>
          </p:cNvPr>
          <p:cNvSpPr txBox="1"/>
          <p:nvPr userDrawn="1"/>
        </p:nvSpPr>
        <p:spPr>
          <a:xfrm>
            <a:off x="7032873" y="4321312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B9E1C644-AA62-4D46-9B74-1BC1250FFFD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434027" y="4321312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725C6426-88CB-48DA-B18C-417ADF0CAC5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51892" y="5402232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012661-7C66-4799-A9DC-A757D73DDF6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4611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ext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89" y="678799"/>
            <a:ext cx="10277961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639389-E91A-458E-A06E-6EBBBC4C48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49" y="3858768"/>
            <a:ext cx="2249424" cy="15381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9C5F9AB7-463A-4987-A5FF-CA7E7C1A5E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9449" y="2133600"/>
            <a:ext cx="2249423" cy="149961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897AA47E-B659-467D-B632-1F083BD782C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993131" y="2133599"/>
            <a:ext cx="2249423" cy="149961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27AF78EC-78A9-43BD-98D9-30DD7ED9042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30676" y="2133600"/>
            <a:ext cx="2249423" cy="149961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8A13D2E5-93BB-4ACD-9920-984E03A956A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311903" y="2133600"/>
            <a:ext cx="2249423" cy="1499616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5EE639C-621F-466B-87B3-FCEA84D1D20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30675" y="3858768"/>
            <a:ext cx="2249424" cy="15381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58D0E01-9E12-4B05-9227-AACD8B16E5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1902" y="3858768"/>
            <a:ext cx="2249424" cy="15381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37DDBD2-87AB-4700-8950-B0E9E22480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93127" y="3858768"/>
            <a:ext cx="2249424" cy="153814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64D638-9749-4021-8B83-9D515031A36A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095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29C8C9-35D8-4580-978B-F47D459A2950}"/>
              </a:ext>
            </a:extLst>
          </p:cNvPr>
          <p:cNvSpPr/>
          <p:nvPr userDrawn="1"/>
        </p:nvSpPr>
        <p:spPr>
          <a:xfrm>
            <a:off x="0" y="0"/>
            <a:ext cx="341593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0C6591D5-39A3-4C2C-8C6C-1C0AA87189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9908" y="457200"/>
            <a:ext cx="1993392" cy="914096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3A256DF-2EAD-40F7-8734-1C90AF7C95F0}"/>
              </a:ext>
            </a:extLst>
          </p:cNvPr>
          <p:cNvSpPr>
            <a:spLocks noChangeAspect="1"/>
          </p:cNvSpPr>
          <p:nvPr userDrawn="1"/>
        </p:nvSpPr>
        <p:spPr>
          <a:xfrm>
            <a:off x="461884" y="464382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6B85A036-9133-4A80-BA91-F7646A2CEE41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3877056" y="457200"/>
            <a:ext cx="822960" cy="822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1"/>
            <a:r>
              <a:rPr lang="en-US"/>
              <a:t>Click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B0541D-63C0-444C-8AF7-B1A2BEE8D3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7012" y="464382"/>
            <a:ext cx="6355080" cy="313577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FF8A3F5F-63AB-4FAC-B2B4-C37DEC50537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884420" y="890626"/>
            <a:ext cx="6355080" cy="938174"/>
          </a:xfrm>
        </p:spPr>
        <p:txBody>
          <a:bodyPr numCol="2"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US"/>
              <a:t>Lorem ipsum text into two colum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79D825-4FC1-434C-A9C8-C7053D96137C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964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light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D114E4F-6C46-48A1-9795-0B0735E057DA}"/>
              </a:ext>
            </a:extLst>
          </p:cNvPr>
          <p:cNvSpPr/>
          <p:nvPr userDrawn="1"/>
        </p:nvSpPr>
        <p:spPr>
          <a:xfrm>
            <a:off x="964590" y="2133600"/>
            <a:ext cx="4901184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590" y="3931921"/>
            <a:ext cx="4901184" cy="2468880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468529F-7C7B-4EAA-B9A7-FDA781A7264E}"/>
              </a:ext>
            </a:extLst>
          </p:cNvPr>
          <p:cNvSpPr>
            <a:spLocks noChangeAspect="1"/>
          </p:cNvSpPr>
          <p:nvPr userDrawn="1"/>
        </p:nvSpPr>
        <p:spPr>
          <a:xfrm>
            <a:off x="2866542" y="2484121"/>
            <a:ext cx="1097280" cy="10972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9BA2C3-90DF-42C5-BBCE-6E52B5183571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3095142" y="2712721"/>
            <a:ext cx="640080" cy="64008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C2AF9D-D211-4892-B007-28AA6FAAF5DF}"/>
              </a:ext>
            </a:extLst>
          </p:cNvPr>
          <p:cNvSpPr/>
          <p:nvPr userDrawn="1"/>
        </p:nvSpPr>
        <p:spPr>
          <a:xfrm>
            <a:off x="6338316" y="2133599"/>
            <a:ext cx="4901184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742F2F0-E1E2-4FCA-ADA1-7765BF4B66C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38316" y="3931920"/>
            <a:ext cx="4901184" cy="2468880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DAF0F7F-9EA9-496C-B4C3-855958B54586}"/>
              </a:ext>
            </a:extLst>
          </p:cNvPr>
          <p:cNvSpPr>
            <a:spLocks noChangeAspect="1"/>
          </p:cNvSpPr>
          <p:nvPr userDrawn="1"/>
        </p:nvSpPr>
        <p:spPr>
          <a:xfrm>
            <a:off x="8240268" y="2484120"/>
            <a:ext cx="1097280" cy="10972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D510D84-C22E-4F42-A00F-6D35C9807D44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8468868" y="2712720"/>
            <a:ext cx="640080" cy="64008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A30F9D-F989-43A0-A754-4BEE44E91D72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457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 light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6D51B4-111A-4D0E-A27B-B3F9E0CF4E7F}"/>
              </a:ext>
            </a:extLst>
          </p:cNvPr>
          <p:cNvSpPr/>
          <p:nvPr userDrawn="1"/>
        </p:nvSpPr>
        <p:spPr>
          <a:xfrm>
            <a:off x="957019" y="2133600"/>
            <a:ext cx="3108960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7019" y="3636264"/>
            <a:ext cx="3108960" cy="2764535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200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C2F1E54-FBE4-4642-A635-72718979C21F}"/>
              </a:ext>
            </a:extLst>
          </p:cNvPr>
          <p:cNvSpPr>
            <a:spLocks noChangeAspect="1"/>
          </p:cNvSpPr>
          <p:nvPr userDrawn="1"/>
        </p:nvSpPr>
        <p:spPr>
          <a:xfrm>
            <a:off x="2054299" y="2427732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EBD61F5A-FAF5-4452-B396-60F80525165D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2235910" y="2609343"/>
            <a:ext cx="551179" cy="551179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3C7989-AF8C-42D1-A578-0273E74C924A}"/>
              </a:ext>
            </a:extLst>
          </p:cNvPr>
          <p:cNvSpPr/>
          <p:nvPr userDrawn="1"/>
        </p:nvSpPr>
        <p:spPr>
          <a:xfrm>
            <a:off x="8130540" y="2133599"/>
            <a:ext cx="3108960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382294D-9A29-4DC1-922D-15C18724A72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30540" y="3636263"/>
            <a:ext cx="3108960" cy="2764535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B8FFEFA-846B-457A-94D8-0E70F3B320A2}"/>
              </a:ext>
            </a:extLst>
          </p:cNvPr>
          <p:cNvSpPr>
            <a:spLocks noChangeAspect="1"/>
          </p:cNvSpPr>
          <p:nvPr userDrawn="1"/>
        </p:nvSpPr>
        <p:spPr>
          <a:xfrm>
            <a:off x="9227820" y="2427731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EFA0366C-831F-49D5-BEAF-3D3B141E59E8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9409431" y="2609342"/>
            <a:ext cx="551179" cy="551179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5396EC-0EE7-42FF-A1D1-A92159FC65A9}"/>
              </a:ext>
            </a:extLst>
          </p:cNvPr>
          <p:cNvSpPr/>
          <p:nvPr userDrawn="1"/>
        </p:nvSpPr>
        <p:spPr>
          <a:xfrm>
            <a:off x="4541520" y="2133598"/>
            <a:ext cx="3108960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BB162DB-2C9C-44D9-9198-50BB0C389B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41520" y="3636262"/>
            <a:ext cx="3108960" cy="2764535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CA00B3C-29D3-47C8-BE68-BBA732F9DF00}"/>
              </a:ext>
            </a:extLst>
          </p:cNvPr>
          <p:cNvSpPr>
            <a:spLocks noChangeAspect="1"/>
          </p:cNvSpPr>
          <p:nvPr userDrawn="1"/>
        </p:nvSpPr>
        <p:spPr>
          <a:xfrm>
            <a:off x="5638800" y="2427730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32C8A95B-5C6A-4FA9-B051-15CAD8CAFF3A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5820411" y="2609341"/>
            <a:ext cx="551179" cy="551179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C6C63E-D37D-4B7C-AF0F-D7E3AF08FAF3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015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 light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BA2F936-517A-46AB-99C3-F213CB897FDA}"/>
              </a:ext>
            </a:extLst>
          </p:cNvPr>
          <p:cNvSpPr/>
          <p:nvPr userDrawn="1"/>
        </p:nvSpPr>
        <p:spPr>
          <a:xfrm>
            <a:off x="960879" y="2133600"/>
            <a:ext cx="2249424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0879" y="3592323"/>
            <a:ext cx="2249424" cy="2808477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1800" b="1">
                <a:solidFill>
                  <a:schemeClr val="tx1"/>
                </a:solidFill>
              </a:defRPr>
            </a:lvl1pPr>
            <a:lvl2pPr algn="ctr">
              <a:defRPr sz="1800">
                <a:solidFill>
                  <a:schemeClr val="tx1"/>
                </a:solidFill>
              </a:defRPr>
            </a:lvl2pPr>
            <a:lvl3pPr algn="ctr">
              <a:defRPr sz="1800"/>
            </a:lvl3pPr>
            <a:lvl4pPr algn="ctr">
              <a:defRPr sz="1800"/>
            </a:lvl4pPr>
            <a:lvl5pPr algn="ctr">
              <a:defRPr sz="1800"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200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AAC674A-0232-4E67-B167-91B7DE673846}"/>
              </a:ext>
            </a:extLst>
          </p:cNvPr>
          <p:cNvSpPr>
            <a:spLocks noChangeAspect="1"/>
          </p:cNvSpPr>
          <p:nvPr userDrawn="1"/>
        </p:nvSpPr>
        <p:spPr>
          <a:xfrm>
            <a:off x="1628391" y="2496312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8DD3653A-D76B-49DA-ABF0-450B6BB66E9F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1810002" y="2677923"/>
            <a:ext cx="551179" cy="551179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7118D1-C398-41F9-A475-B8E5CAB4AEDC}"/>
              </a:ext>
            </a:extLst>
          </p:cNvPr>
          <p:cNvSpPr/>
          <p:nvPr userDrawn="1"/>
        </p:nvSpPr>
        <p:spPr>
          <a:xfrm>
            <a:off x="8990076" y="2133600"/>
            <a:ext cx="2249424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B8A4D61-AC4E-4DE4-BE2B-5AC391DF56EB}"/>
              </a:ext>
            </a:extLst>
          </p:cNvPr>
          <p:cNvSpPr>
            <a:spLocks noChangeAspect="1"/>
          </p:cNvSpPr>
          <p:nvPr userDrawn="1"/>
        </p:nvSpPr>
        <p:spPr>
          <a:xfrm>
            <a:off x="9657588" y="2496312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DC771883-7302-4A8F-9E57-B854FFEB2C10}"/>
              </a:ext>
            </a:extLst>
          </p:cNvPr>
          <p:cNvSpPr>
            <a:spLocks noGrp="1" noChangeAspect="1"/>
          </p:cNvSpPr>
          <p:nvPr>
            <p:ph type="pic" sz="quarter" idx="45"/>
          </p:nvPr>
        </p:nvSpPr>
        <p:spPr>
          <a:xfrm>
            <a:off x="9839199" y="2677923"/>
            <a:ext cx="551179" cy="551179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5931F9D-90BF-4787-B320-C69C2D180A93}"/>
              </a:ext>
            </a:extLst>
          </p:cNvPr>
          <p:cNvSpPr/>
          <p:nvPr userDrawn="1"/>
        </p:nvSpPr>
        <p:spPr>
          <a:xfrm>
            <a:off x="3637278" y="2145575"/>
            <a:ext cx="2249424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7F87EF3-76CE-4D6D-8251-1DE266109A41}"/>
              </a:ext>
            </a:extLst>
          </p:cNvPr>
          <p:cNvSpPr>
            <a:spLocks noChangeAspect="1"/>
          </p:cNvSpPr>
          <p:nvPr userDrawn="1"/>
        </p:nvSpPr>
        <p:spPr>
          <a:xfrm>
            <a:off x="4304790" y="2508287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F89A41C-FB8C-4CA8-8138-836C078B9508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4486401" y="2689898"/>
            <a:ext cx="551179" cy="551179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149740C-576C-4A5C-B6B1-E989ADA7227B}"/>
              </a:ext>
            </a:extLst>
          </p:cNvPr>
          <p:cNvSpPr/>
          <p:nvPr userDrawn="1"/>
        </p:nvSpPr>
        <p:spPr>
          <a:xfrm>
            <a:off x="6313677" y="2133600"/>
            <a:ext cx="2249424" cy="426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443FD88-3DBD-47C0-8B4E-8BF09DE463DC}"/>
              </a:ext>
            </a:extLst>
          </p:cNvPr>
          <p:cNvSpPr>
            <a:spLocks noChangeAspect="1"/>
          </p:cNvSpPr>
          <p:nvPr userDrawn="1"/>
        </p:nvSpPr>
        <p:spPr>
          <a:xfrm>
            <a:off x="6981189" y="2496312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65D6551-A809-4DF4-8FCF-98197FF8BBA9}"/>
              </a:ext>
            </a:extLst>
          </p:cNvPr>
          <p:cNvSpPr>
            <a:spLocks noGrp="1" noChangeAspect="1"/>
          </p:cNvSpPr>
          <p:nvPr>
            <p:ph type="pic" sz="quarter" idx="49"/>
          </p:nvPr>
        </p:nvSpPr>
        <p:spPr>
          <a:xfrm>
            <a:off x="7162800" y="2677923"/>
            <a:ext cx="551179" cy="551179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3926E581-EE6F-4D2E-8ED1-4C84438ED2B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637278" y="3592320"/>
            <a:ext cx="2249424" cy="2808477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1800" b="1">
                <a:solidFill>
                  <a:schemeClr val="tx1"/>
                </a:solidFill>
              </a:defRPr>
            </a:lvl1pPr>
            <a:lvl2pPr algn="ctr">
              <a:defRPr sz="1800">
                <a:solidFill>
                  <a:schemeClr val="tx1"/>
                </a:solidFill>
              </a:defRPr>
            </a:lvl2pPr>
            <a:lvl3pPr algn="ctr">
              <a:defRPr sz="1800"/>
            </a:lvl3pPr>
            <a:lvl4pPr algn="ctr">
              <a:defRPr sz="1800"/>
            </a:lvl4pPr>
            <a:lvl5pPr algn="ctr">
              <a:defRPr sz="1800"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F868618D-D031-4551-B1BA-A79104D3C06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320130" y="3592320"/>
            <a:ext cx="2249424" cy="2808477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1800" b="1">
                <a:solidFill>
                  <a:schemeClr val="tx1"/>
                </a:solidFill>
              </a:defRPr>
            </a:lvl1pPr>
            <a:lvl2pPr algn="ctr">
              <a:defRPr sz="1800">
                <a:solidFill>
                  <a:schemeClr val="tx1"/>
                </a:solidFill>
              </a:defRPr>
            </a:lvl2pPr>
            <a:lvl3pPr algn="ctr">
              <a:defRPr sz="1800"/>
            </a:lvl3pPr>
            <a:lvl4pPr algn="ctr">
              <a:defRPr sz="1800"/>
            </a:lvl4pPr>
            <a:lvl5pPr algn="ctr">
              <a:defRPr sz="1800"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5607FBF-4057-4E2D-97E5-8740ECBDD9E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990076" y="3592320"/>
            <a:ext cx="2249424" cy="2808477"/>
          </a:xfrm>
          <a:prstGeom prst="rect">
            <a:avLst/>
          </a:prstGeom>
          <a:noFill/>
          <a:ln w="12700">
            <a:noFill/>
          </a:ln>
          <a:effectLst>
            <a:softEdge rad="0"/>
          </a:effectLst>
        </p:spPr>
        <p:txBody>
          <a:bodyPr wrap="square" lIns="365760" tIns="0" rIns="365760" bIns="365760">
            <a:noAutofit/>
          </a:bodyPr>
          <a:lstStyle>
            <a:lvl1pPr algn="ctr">
              <a:defRPr sz="1800" b="1">
                <a:solidFill>
                  <a:schemeClr val="tx1"/>
                </a:solidFill>
              </a:defRPr>
            </a:lvl1pPr>
            <a:lvl2pPr algn="ctr">
              <a:defRPr sz="1800">
                <a:solidFill>
                  <a:schemeClr val="tx1"/>
                </a:solidFill>
              </a:defRPr>
            </a:lvl2pPr>
            <a:lvl3pPr algn="ctr">
              <a:defRPr sz="1800"/>
            </a:lvl3pPr>
            <a:lvl4pPr algn="ctr">
              <a:defRPr sz="1800"/>
            </a:lvl4pPr>
            <a:lvl5pPr algn="ctr">
              <a:defRPr sz="1800"/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6F1798-F897-4A50-A772-F216EB9E1117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795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49" y="2130552"/>
            <a:ext cx="4901184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709928" rIns="365760" bIns="365760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9BA2C3-90DF-42C5-BBCE-6E52B5183571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2910837" y="2496312"/>
            <a:ext cx="978408" cy="97840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F544E25-7F30-4E70-AEAC-6F9F1A09CF1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38316" y="2130552"/>
            <a:ext cx="4901184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709928" rIns="365760" bIns="365760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15DDF7E-73FB-4044-BDF7-CD85458A1599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8299704" y="2496312"/>
            <a:ext cx="978408" cy="97840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DE6ACB-29B3-4C9E-A439-6A5D8D7D6019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>
          <a:xfrm>
            <a:off x="11734800" y="6400800"/>
            <a:ext cx="274320" cy="274320"/>
          </a:xfrm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220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49" y="2133600"/>
            <a:ext cx="3108960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508760" rIns="365760" bIns="365760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9BA2C3-90DF-42C5-BBCE-6E52B5183571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2115309" y="2496312"/>
            <a:ext cx="777240" cy="77724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F544E25-7F30-4E70-AEAC-6F9F1A09CF1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41520" y="2133600"/>
            <a:ext cx="3108960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508760" rIns="365760" bIns="365760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15DDF7E-73FB-4044-BDF7-CD85458A1599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5707380" y="2496312"/>
            <a:ext cx="777240" cy="77724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CCD4A16-B480-4728-AA42-DA2FA8E5B58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33591" y="2133600"/>
            <a:ext cx="3108960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508760" rIns="365760" bIns="365760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F65445C-74DE-486D-95D5-14EAA15E6A5A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9299451" y="2496312"/>
            <a:ext cx="777240" cy="77724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99963C-63E9-4810-9176-00DAC295A6F6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744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49" y="2133600"/>
            <a:ext cx="2249424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490472" rIns="365760" bIns="365760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800">
                <a:solidFill>
                  <a:schemeClr val="bg1"/>
                </a:solidFill>
              </a:defRPr>
            </a:lvl3pPr>
            <a:lvl4pPr algn="ctr">
              <a:defRPr sz="1800">
                <a:solidFill>
                  <a:schemeClr val="bg1"/>
                </a:solidFill>
              </a:defRPr>
            </a:lvl4pPr>
            <a:lvl5pPr algn="ctr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39BA2C3-90DF-42C5-BBCE-6E52B5183571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1694685" y="2477262"/>
            <a:ext cx="758952" cy="758952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F544E25-7F30-4E70-AEAC-6F9F1A09CF1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26865" y="2133600"/>
            <a:ext cx="2249424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490472" rIns="365760" bIns="365760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800">
                <a:solidFill>
                  <a:schemeClr val="bg1"/>
                </a:solidFill>
              </a:defRPr>
            </a:lvl3pPr>
            <a:lvl4pPr algn="ctr">
              <a:defRPr sz="1800">
                <a:solidFill>
                  <a:schemeClr val="bg1"/>
                </a:solidFill>
              </a:defRPr>
            </a:lvl4pPr>
            <a:lvl5pPr algn="ctr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15DDF7E-73FB-4044-BDF7-CD85458A1599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4372101" y="2477262"/>
            <a:ext cx="758952" cy="758952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CCD4A16-B480-4728-AA42-DA2FA8E5B58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04281" y="2133600"/>
            <a:ext cx="2249424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490472" rIns="365760" bIns="365760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800">
                <a:solidFill>
                  <a:schemeClr val="bg1"/>
                </a:solidFill>
              </a:defRPr>
            </a:lvl3pPr>
            <a:lvl4pPr algn="ctr">
              <a:defRPr sz="1800">
                <a:solidFill>
                  <a:schemeClr val="bg1"/>
                </a:solidFill>
              </a:defRPr>
            </a:lvl4pPr>
            <a:lvl5pPr algn="ctr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F65445C-74DE-486D-95D5-14EAA15E6A5A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7049517" y="2477262"/>
            <a:ext cx="758952" cy="758952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F7C9294-3460-435F-A16F-CBC677E0C63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81697" y="2133600"/>
            <a:ext cx="2249424" cy="42672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>
            <a:softEdge rad="0"/>
          </a:effectLst>
        </p:spPr>
        <p:txBody>
          <a:bodyPr wrap="square" lIns="365760" tIns="1490472" rIns="365760" bIns="365760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  <a:lvl2pPr algn="ctr">
              <a:defRPr sz="1800">
                <a:solidFill>
                  <a:schemeClr val="bg1"/>
                </a:solidFill>
              </a:defRPr>
            </a:lvl2pPr>
            <a:lvl3pPr algn="ctr">
              <a:defRPr sz="1800">
                <a:solidFill>
                  <a:schemeClr val="bg1"/>
                </a:solidFill>
              </a:defRPr>
            </a:lvl3pPr>
            <a:lvl4pPr algn="ctr">
              <a:defRPr sz="1800">
                <a:solidFill>
                  <a:schemeClr val="bg1"/>
                </a:solidFill>
              </a:defRPr>
            </a:lvl4pPr>
            <a:lvl5pPr algn="ctr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CC8DAED8-6C8F-4506-B3F0-518634E499CF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9726933" y="2477262"/>
            <a:ext cx="758952" cy="758952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6427C3-A3A0-4F38-8329-1F61C983EF2A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>
          <a:blipFill>
            <a:blip r:embed="rId2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6387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89" y="678799"/>
            <a:ext cx="10277963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49" y="2662238"/>
            <a:ext cx="4901184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FE55E54-0CB7-43BD-A9A9-23118FB464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9325" y="2133600"/>
            <a:ext cx="4901184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8BB564B-D749-4889-8A2D-D3D5138DFF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41369" y="2662238"/>
            <a:ext cx="4901184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058DAA4-F4BB-496B-8ACD-1DA0543C5E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41369" y="2133600"/>
            <a:ext cx="4901184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BAFD3E-826B-49A1-B490-50F7CEF706EF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0019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49" y="2662238"/>
            <a:ext cx="3108960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FE55E54-0CB7-43BD-A9A9-23118FB464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9325" y="2133600"/>
            <a:ext cx="3108960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8BB564B-D749-4889-8A2D-D3D5138DFF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41644" y="2662238"/>
            <a:ext cx="3108960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058DAA4-F4BB-496B-8ACD-1DA0543C5E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41520" y="2133600"/>
            <a:ext cx="3108960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A3F2496-1936-4840-93B1-28FE8E6BF70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30540" y="2662238"/>
            <a:ext cx="3108960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458907A-87B9-4E83-9BFC-4A307EA22F5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30416" y="2133600"/>
            <a:ext cx="3108960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596AC0-7BDC-4A6A-9FE8-68728AC75604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21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six sections sho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A34C3-9E74-4E85-8962-CC423B3EC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TABLE OF CONTENT WITH SHORT SECTION NAM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42D5262-935C-424B-A1BB-733EBA48DEC7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DD4AD50-406F-4032-A4A4-998C2E88ADF6}"/>
              </a:ext>
            </a:extLst>
          </p:cNvPr>
          <p:cNvSpPr/>
          <p:nvPr userDrawn="1"/>
        </p:nvSpPr>
        <p:spPr>
          <a:xfrm>
            <a:off x="1530414" y="18288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FF18A0-C66C-4929-B799-85A4844059A6}"/>
              </a:ext>
            </a:extLst>
          </p:cNvPr>
          <p:cNvCxnSpPr>
            <a:cxnSpLocks/>
          </p:cNvCxnSpPr>
          <p:nvPr userDrawn="1"/>
        </p:nvCxnSpPr>
        <p:spPr>
          <a:xfrm>
            <a:off x="1834403" y="29718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8F2BE3FD-D387-4DEF-A525-77A67AB1DDA6}"/>
              </a:ext>
            </a:extLst>
          </p:cNvPr>
          <p:cNvSpPr txBox="1"/>
          <p:nvPr userDrawn="1"/>
        </p:nvSpPr>
        <p:spPr>
          <a:xfrm>
            <a:off x="2276790" y="20194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9DD118F-EA77-44D8-87FB-B4DFF03C28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77944" y="20194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BEAA3689-E11D-4CCC-A6D8-C2F0AE6A56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95809" y="31003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4B19160-B903-407F-A0C9-1AF372EE4235}"/>
              </a:ext>
            </a:extLst>
          </p:cNvPr>
          <p:cNvSpPr/>
          <p:nvPr userDrawn="1"/>
        </p:nvSpPr>
        <p:spPr>
          <a:xfrm>
            <a:off x="4197413" y="18288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7FA90CA-A47E-496E-A320-94255CF5FC41}"/>
              </a:ext>
            </a:extLst>
          </p:cNvPr>
          <p:cNvCxnSpPr>
            <a:cxnSpLocks/>
          </p:cNvCxnSpPr>
          <p:nvPr userDrawn="1"/>
        </p:nvCxnSpPr>
        <p:spPr>
          <a:xfrm>
            <a:off x="4501402" y="29718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8C992CE7-1E1F-466B-A11F-146D0A435D49}"/>
              </a:ext>
            </a:extLst>
          </p:cNvPr>
          <p:cNvSpPr txBox="1"/>
          <p:nvPr userDrawn="1"/>
        </p:nvSpPr>
        <p:spPr>
          <a:xfrm>
            <a:off x="4943789" y="20194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29834F68-CF78-424D-ACE8-3FD79540924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4943" y="20194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A7B359A9-D2D2-4E7E-BF2B-E5AA8D2F72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62808" y="31003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D0A86B9C-712B-46AA-AFD5-712CDEA6C2E3}"/>
              </a:ext>
            </a:extLst>
          </p:cNvPr>
          <p:cNvSpPr/>
          <p:nvPr userDrawn="1"/>
        </p:nvSpPr>
        <p:spPr>
          <a:xfrm>
            <a:off x="6864416" y="18288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D44C205-283C-434F-9EFE-A76F1C778992}"/>
              </a:ext>
            </a:extLst>
          </p:cNvPr>
          <p:cNvCxnSpPr>
            <a:cxnSpLocks/>
          </p:cNvCxnSpPr>
          <p:nvPr userDrawn="1"/>
        </p:nvCxnSpPr>
        <p:spPr>
          <a:xfrm>
            <a:off x="7168405" y="29718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51E0AECA-A4B3-4B94-9F9F-7E8C53FEED5C}"/>
              </a:ext>
            </a:extLst>
          </p:cNvPr>
          <p:cNvSpPr txBox="1"/>
          <p:nvPr userDrawn="1"/>
        </p:nvSpPr>
        <p:spPr>
          <a:xfrm>
            <a:off x="7610792" y="20194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AAA3D6D3-90F4-4A38-AFED-04E4480F621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11946" y="20194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2974EC07-FA27-4EF7-B850-032A23B7AD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29811" y="31003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F5216FFA-2C9D-43DD-A569-073F43A8DB29}"/>
              </a:ext>
            </a:extLst>
          </p:cNvPr>
          <p:cNvSpPr/>
          <p:nvPr userDrawn="1"/>
        </p:nvSpPr>
        <p:spPr>
          <a:xfrm>
            <a:off x="2857499" y="41148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A2596AD-E879-455F-ACEB-181D32E8A498}"/>
              </a:ext>
            </a:extLst>
          </p:cNvPr>
          <p:cNvCxnSpPr>
            <a:cxnSpLocks/>
          </p:cNvCxnSpPr>
          <p:nvPr userDrawn="1"/>
        </p:nvCxnSpPr>
        <p:spPr>
          <a:xfrm>
            <a:off x="3161488" y="52578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7ED6856C-88AE-4505-A433-B790477FBC6C}"/>
              </a:ext>
            </a:extLst>
          </p:cNvPr>
          <p:cNvSpPr txBox="1"/>
          <p:nvPr userDrawn="1"/>
        </p:nvSpPr>
        <p:spPr>
          <a:xfrm>
            <a:off x="3603875" y="43054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CF93113A-B954-40D8-AB37-B05E75EFCAB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005029" y="43054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25AD9B9A-14FF-41FB-B84E-6158D8B005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22894" y="53863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16348D5-EF0D-4C9E-B1DA-412EB6926990}"/>
              </a:ext>
            </a:extLst>
          </p:cNvPr>
          <p:cNvSpPr/>
          <p:nvPr userDrawn="1"/>
        </p:nvSpPr>
        <p:spPr>
          <a:xfrm>
            <a:off x="5524498" y="4114800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1653D63-772D-48B5-9FDF-AB2309979F52}"/>
              </a:ext>
            </a:extLst>
          </p:cNvPr>
          <p:cNvCxnSpPr>
            <a:cxnSpLocks/>
          </p:cNvCxnSpPr>
          <p:nvPr userDrawn="1"/>
        </p:nvCxnSpPr>
        <p:spPr>
          <a:xfrm>
            <a:off x="5828487" y="5257800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38B7E326-12ED-4EDE-BDC6-D2BC48DF2D80}"/>
              </a:ext>
            </a:extLst>
          </p:cNvPr>
          <p:cNvSpPr txBox="1"/>
          <p:nvPr userDrawn="1"/>
        </p:nvSpPr>
        <p:spPr>
          <a:xfrm>
            <a:off x="6270874" y="4305468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B9E1C644-AA62-4D46-9B74-1BC1250FFFD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72028" y="4305468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725C6426-88CB-48DA-B18C-417ADF0CAC5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789893" y="5386388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012661-7C66-4799-A9DC-A757D73DDF6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030A459-507E-4410-AEDF-A3A2AB3F6F6D}"/>
              </a:ext>
            </a:extLst>
          </p:cNvPr>
          <p:cNvSpPr/>
          <p:nvPr userDrawn="1"/>
        </p:nvSpPr>
        <p:spPr>
          <a:xfrm>
            <a:off x="8191497" y="4120746"/>
            <a:ext cx="2286000" cy="2286000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3AFC5EB-ED2C-4896-A476-762241936DA3}"/>
              </a:ext>
            </a:extLst>
          </p:cNvPr>
          <p:cNvCxnSpPr>
            <a:cxnSpLocks/>
          </p:cNvCxnSpPr>
          <p:nvPr userDrawn="1"/>
        </p:nvCxnSpPr>
        <p:spPr>
          <a:xfrm>
            <a:off x="8495486" y="5263746"/>
            <a:ext cx="167802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3328085-3506-44C5-84FC-A231CD1B83FE}"/>
              </a:ext>
            </a:extLst>
          </p:cNvPr>
          <p:cNvSpPr txBox="1"/>
          <p:nvPr userDrawn="1"/>
        </p:nvSpPr>
        <p:spPr>
          <a:xfrm>
            <a:off x="8937873" y="4311414"/>
            <a:ext cx="384315" cy="784830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algn="ctr"/>
            <a:r>
              <a:rPr lang="en-US" sz="5100" b="1">
                <a:solidFill>
                  <a:schemeClr val="accent1"/>
                </a:solidFill>
              </a:rPr>
              <a:t>0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764D11A-7623-4D4F-8710-515A451709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39027" y="4311414"/>
            <a:ext cx="384316" cy="786384"/>
          </a:xfrm>
        </p:spPr>
        <p:txBody>
          <a:bodyPr anchor="ctr"/>
          <a:lstStyle>
            <a:lvl1pPr>
              <a:lnSpc>
                <a:spcPct val="100000"/>
              </a:lnSpc>
              <a:defRPr sz="5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01A3A0FE-276E-4B44-A8BE-338D39D712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56892" y="5392334"/>
            <a:ext cx="1755775" cy="825003"/>
          </a:xfrm>
        </p:spPr>
        <p:txBody>
          <a:bodyPr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1194439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61D28-274E-4436-B4CD-F3B540F43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4590" y="678799"/>
            <a:ext cx="10274910" cy="44319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9E9F32F-2521-4E6A-A0D3-358886879C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9449" y="2662238"/>
            <a:ext cx="2249424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F6F0668-50EE-424B-BD4F-8CBC3E5DE25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199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FE55E54-0CB7-43BD-A9A9-23118FB464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9325" y="2133600"/>
            <a:ext cx="2249488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8BB564B-D749-4889-8A2D-D3D5138DFFA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29691" y="2662238"/>
            <a:ext cx="2249424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A058DAA4-F4BB-496B-8ACD-1DA0543C5E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29567" y="2133600"/>
            <a:ext cx="2249488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D78D28E-0B08-4E3C-9F9F-3FD0FA04E8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990136" y="2662238"/>
            <a:ext cx="2249424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E10E14E-1B86-418F-BD22-B5740BEA07F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90012" y="2133600"/>
            <a:ext cx="2249488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A3F2496-1936-4840-93B1-28FE8E6BF70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09834" y="2662238"/>
            <a:ext cx="2249424" cy="3738562"/>
          </a:xfrm>
          <a:ln w="12700">
            <a:solidFill>
              <a:schemeClr val="tx2"/>
            </a:solidFill>
          </a:ln>
        </p:spPr>
        <p:txBody>
          <a:bodyPr lIns="182880" tIns="182880" rIns="182880" bIns="182880">
            <a:noAutofit/>
          </a:bodyPr>
          <a:lstStyle>
            <a:lvl1pPr algn="l">
              <a:defRPr sz="2400" b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Aenean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ligula.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458907A-87B9-4E83-9BFC-4A307EA22F5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09710" y="2133600"/>
            <a:ext cx="2249488" cy="542068"/>
          </a:xfrm>
          <a:prstGeom prst="round2Same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lIns="182880" tIns="91440" rIns="182880" bIns="9144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A270B5-BDD7-4081-BD85-CBB2CA7296D6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0121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C3C63-6EB1-4AF9-AD8B-692230121E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97836" y="2718044"/>
            <a:ext cx="7196328" cy="1321724"/>
          </a:xfrm>
        </p:spPr>
        <p:txBody>
          <a:bodyPr wrap="square" anchor="t">
            <a:noAutofit/>
          </a:bodyPr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unc sit </a:t>
            </a:r>
            <a:r>
              <a:rPr lang="en-US" err="1"/>
              <a:t>amet</a:t>
            </a:r>
            <a:r>
              <a:rPr lang="en-US"/>
              <a:t> nisi </a:t>
            </a:r>
            <a:r>
              <a:rPr lang="en-US" err="1"/>
              <a:t>interdum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 vel, </a:t>
            </a:r>
            <a:r>
              <a:rPr lang="en-US" err="1"/>
              <a:t>malesuada</a:t>
            </a:r>
            <a:r>
              <a:rPr lang="en-US"/>
              <a:t> nisi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vestibulum magna. Duis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cursus at in </a:t>
            </a:r>
            <a:r>
              <a:rPr lang="en-US" err="1"/>
              <a:t>eros</a:t>
            </a:r>
            <a:r>
              <a:rPr lang="en-US"/>
              <a:t>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D776FE2-B608-4FB0-8891-7F99A552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500" y="678799"/>
            <a:ext cx="10287000" cy="4431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QUO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FE4E697-E1A5-47CE-A996-A9463E080061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457200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F4E087C-6A93-48FB-9322-EBFCE2DE75AF}"/>
              </a:ext>
            </a:extLst>
          </p:cNvPr>
          <p:cNvGrpSpPr/>
          <p:nvPr userDrawn="1"/>
        </p:nvGrpSpPr>
        <p:grpSpPr>
          <a:xfrm>
            <a:off x="1631092" y="1859280"/>
            <a:ext cx="8929816" cy="4111596"/>
            <a:chOff x="1830323" y="2194777"/>
            <a:chExt cx="8929816" cy="4111596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6D64340-2B6C-4070-852E-D60567FB7B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30323" y="2194777"/>
              <a:ext cx="796925" cy="747712"/>
            </a:xfrm>
            <a:custGeom>
              <a:avLst/>
              <a:gdLst>
                <a:gd name="T0" fmla="*/ 41 w 110"/>
                <a:gd name="T1" fmla="*/ 58 h 103"/>
                <a:gd name="T2" fmla="*/ 41 w 110"/>
                <a:gd name="T3" fmla="*/ 103 h 103"/>
                <a:gd name="T4" fmla="*/ 0 w 110"/>
                <a:gd name="T5" fmla="*/ 103 h 103"/>
                <a:gd name="T6" fmla="*/ 0 w 110"/>
                <a:gd name="T7" fmla="*/ 68 h 103"/>
                <a:gd name="T8" fmla="*/ 7 w 110"/>
                <a:gd name="T9" fmla="*/ 26 h 103"/>
                <a:gd name="T10" fmla="*/ 35 w 110"/>
                <a:gd name="T11" fmla="*/ 0 h 103"/>
                <a:gd name="T12" fmla="*/ 44 w 110"/>
                <a:gd name="T13" fmla="*/ 15 h 103"/>
                <a:gd name="T14" fmla="*/ 27 w 110"/>
                <a:gd name="T15" fmla="*/ 30 h 103"/>
                <a:gd name="T16" fmla="*/ 21 w 110"/>
                <a:gd name="T17" fmla="*/ 58 h 103"/>
                <a:gd name="T18" fmla="*/ 41 w 110"/>
                <a:gd name="T19" fmla="*/ 58 h 103"/>
                <a:gd name="T20" fmla="*/ 107 w 110"/>
                <a:gd name="T21" fmla="*/ 58 h 103"/>
                <a:gd name="T22" fmla="*/ 107 w 110"/>
                <a:gd name="T23" fmla="*/ 103 h 103"/>
                <a:gd name="T24" fmla="*/ 66 w 110"/>
                <a:gd name="T25" fmla="*/ 103 h 103"/>
                <a:gd name="T26" fmla="*/ 66 w 110"/>
                <a:gd name="T27" fmla="*/ 68 h 103"/>
                <a:gd name="T28" fmla="*/ 73 w 110"/>
                <a:gd name="T29" fmla="*/ 26 h 103"/>
                <a:gd name="T30" fmla="*/ 101 w 110"/>
                <a:gd name="T31" fmla="*/ 0 h 103"/>
                <a:gd name="T32" fmla="*/ 110 w 110"/>
                <a:gd name="T33" fmla="*/ 15 h 103"/>
                <a:gd name="T34" fmla="*/ 93 w 110"/>
                <a:gd name="T35" fmla="*/ 30 h 103"/>
                <a:gd name="T36" fmla="*/ 87 w 110"/>
                <a:gd name="T37" fmla="*/ 58 h 103"/>
                <a:gd name="T38" fmla="*/ 107 w 110"/>
                <a:gd name="T39" fmla="*/ 5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03">
                  <a:moveTo>
                    <a:pt x="41" y="58"/>
                  </a:moveTo>
                  <a:cubicBezTo>
                    <a:pt x="41" y="103"/>
                    <a:pt x="41" y="103"/>
                    <a:pt x="41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49"/>
                    <a:pt x="2" y="35"/>
                    <a:pt x="7" y="26"/>
                  </a:cubicBezTo>
                  <a:cubicBezTo>
                    <a:pt x="13" y="15"/>
                    <a:pt x="22" y="6"/>
                    <a:pt x="35" y="0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37" y="19"/>
                    <a:pt x="31" y="24"/>
                    <a:pt x="27" y="30"/>
                  </a:cubicBezTo>
                  <a:cubicBezTo>
                    <a:pt x="23" y="36"/>
                    <a:pt x="21" y="46"/>
                    <a:pt x="21" y="58"/>
                  </a:cubicBezTo>
                  <a:lnTo>
                    <a:pt x="41" y="58"/>
                  </a:lnTo>
                  <a:close/>
                  <a:moveTo>
                    <a:pt x="107" y="58"/>
                  </a:moveTo>
                  <a:cubicBezTo>
                    <a:pt x="107" y="103"/>
                    <a:pt x="107" y="103"/>
                    <a:pt x="107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49"/>
                    <a:pt x="68" y="35"/>
                    <a:pt x="73" y="26"/>
                  </a:cubicBezTo>
                  <a:cubicBezTo>
                    <a:pt x="79" y="15"/>
                    <a:pt x="88" y="6"/>
                    <a:pt x="101" y="0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03" y="19"/>
                    <a:pt x="97" y="24"/>
                    <a:pt x="93" y="30"/>
                  </a:cubicBezTo>
                  <a:cubicBezTo>
                    <a:pt x="89" y="36"/>
                    <a:pt x="87" y="46"/>
                    <a:pt x="87" y="58"/>
                  </a:cubicBezTo>
                  <a:lnTo>
                    <a:pt x="107" y="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38C1EFC-6EEC-4037-96A7-7EAC329F2E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 rot="10800000">
              <a:off x="9963214" y="5558661"/>
              <a:ext cx="796925" cy="747712"/>
            </a:xfrm>
            <a:custGeom>
              <a:avLst/>
              <a:gdLst>
                <a:gd name="T0" fmla="*/ 41 w 110"/>
                <a:gd name="T1" fmla="*/ 58 h 103"/>
                <a:gd name="T2" fmla="*/ 41 w 110"/>
                <a:gd name="T3" fmla="*/ 103 h 103"/>
                <a:gd name="T4" fmla="*/ 0 w 110"/>
                <a:gd name="T5" fmla="*/ 103 h 103"/>
                <a:gd name="T6" fmla="*/ 0 w 110"/>
                <a:gd name="T7" fmla="*/ 68 h 103"/>
                <a:gd name="T8" fmla="*/ 7 w 110"/>
                <a:gd name="T9" fmla="*/ 26 h 103"/>
                <a:gd name="T10" fmla="*/ 35 w 110"/>
                <a:gd name="T11" fmla="*/ 0 h 103"/>
                <a:gd name="T12" fmla="*/ 44 w 110"/>
                <a:gd name="T13" fmla="*/ 15 h 103"/>
                <a:gd name="T14" fmla="*/ 27 w 110"/>
                <a:gd name="T15" fmla="*/ 30 h 103"/>
                <a:gd name="T16" fmla="*/ 21 w 110"/>
                <a:gd name="T17" fmla="*/ 58 h 103"/>
                <a:gd name="T18" fmla="*/ 41 w 110"/>
                <a:gd name="T19" fmla="*/ 58 h 103"/>
                <a:gd name="T20" fmla="*/ 107 w 110"/>
                <a:gd name="T21" fmla="*/ 58 h 103"/>
                <a:gd name="T22" fmla="*/ 107 w 110"/>
                <a:gd name="T23" fmla="*/ 103 h 103"/>
                <a:gd name="T24" fmla="*/ 66 w 110"/>
                <a:gd name="T25" fmla="*/ 103 h 103"/>
                <a:gd name="T26" fmla="*/ 66 w 110"/>
                <a:gd name="T27" fmla="*/ 68 h 103"/>
                <a:gd name="T28" fmla="*/ 73 w 110"/>
                <a:gd name="T29" fmla="*/ 26 h 103"/>
                <a:gd name="T30" fmla="*/ 101 w 110"/>
                <a:gd name="T31" fmla="*/ 0 h 103"/>
                <a:gd name="T32" fmla="*/ 110 w 110"/>
                <a:gd name="T33" fmla="*/ 15 h 103"/>
                <a:gd name="T34" fmla="*/ 93 w 110"/>
                <a:gd name="T35" fmla="*/ 30 h 103"/>
                <a:gd name="T36" fmla="*/ 87 w 110"/>
                <a:gd name="T37" fmla="*/ 58 h 103"/>
                <a:gd name="T38" fmla="*/ 107 w 110"/>
                <a:gd name="T39" fmla="*/ 5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" h="103">
                  <a:moveTo>
                    <a:pt x="41" y="58"/>
                  </a:moveTo>
                  <a:cubicBezTo>
                    <a:pt x="41" y="103"/>
                    <a:pt x="41" y="103"/>
                    <a:pt x="41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49"/>
                    <a:pt x="2" y="35"/>
                    <a:pt x="7" y="26"/>
                  </a:cubicBezTo>
                  <a:cubicBezTo>
                    <a:pt x="13" y="15"/>
                    <a:pt x="22" y="6"/>
                    <a:pt x="35" y="0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37" y="19"/>
                    <a:pt x="31" y="24"/>
                    <a:pt x="27" y="30"/>
                  </a:cubicBezTo>
                  <a:cubicBezTo>
                    <a:pt x="23" y="36"/>
                    <a:pt x="21" y="46"/>
                    <a:pt x="21" y="58"/>
                  </a:cubicBezTo>
                  <a:lnTo>
                    <a:pt x="41" y="58"/>
                  </a:lnTo>
                  <a:close/>
                  <a:moveTo>
                    <a:pt x="107" y="58"/>
                  </a:moveTo>
                  <a:cubicBezTo>
                    <a:pt x="107" y="103"/>
                    <a:pt x="107" y="103"/>
                    <a:pt x="107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49"/>
                    <a:pt x="68" y="35"/>
                    <a:pt x="73" y="26"/>
                  </a:cubicBezTo>
                  <a:cubicBezTo>
                    <a:pt x="79" y="15"/>
                    <a:pt x="88" y="6"/>
                    <a:pt x="101" y="0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03" y="19"/>
                    <a:pt x="97" y="24"/>
                    <a:pt x="93" y="30"/>
                  </a:cubicBezTo>
                  <a:cubicBezTo>
                    <a:pt x="89" y="36"/>
                    <a:pt x="87" y="46"/>
                    <a:pt x="87" y="58"/>
                  </a:cubicBezTo>
                  <a:lnTo>
                    <a:pt x="107" y="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BEA5EDF-A69E-478C-9F0E-4F0DA6928A38}"/>
                </a:ext>
              </a:extLst>
            </p:cNvPr>
            <p:cNvSpPr/>
            <p:nvPr userDrawn="1"/>
          </p:nvSpPr>
          <p:spPr>
            <a:xfrm>
              <a:off x="2880220" y="2568633"/>
              <a:ext cx="7468847" cy="2743200"/>
            </a:xfrm>
            <a:custGeom>
              <a:avLst/>
              <a:gdLst>
                <a:gd name="connsiteX0" fmla="*/ 0 w 7498080"/>
                <a:gd name="connsiteY0" fmla="*/ 0 h 1330036"/>
                <a:gd name="connsiteX1" fmla="*/ 7498080 w 7498080"/>
                <a:gd name="connsiteY1" fmla="*/ 0 h 1330036"/>
                <a:gd name="connsiteX2" fmla="*/ 7498080 w 7498080"/>
                <a:gd name="connsiteY2" fmla="*/ 1330036 h 133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98080" h="1330036">
                  <a:moveTo>
                    <a:pt x="0" y="0"/>
                  </a:moveTo>
                  <a:lnTo>
                    <a:pt x="7498080" y="0"/>
                  </a:lnTo>
                  <a:lnTo>
                    <a:pt x="7498080" y="1330036"/>
                  </a:lnTo>
                </a:path>
              </a:pathLst>
            </a:cu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5E72DC8-B7DD-4846-94B0-5376440A4A3A}"/>
                </a:ext>
              </a:extLst>
            </p:cNvPr>
            <p:cNvSpPr/>
            <p:nvPr userDrawn="1"/>
          </p:nvSpPr>
          <p:spPr>
            <a:xfrm rot="10800000">
              <a:off x="2228786" y="3189316"/>
              <a:ext cx="7468847" cy="2743200"/>
            </a:xfrm>
            <a:custGeom>
              <a:avLst/>
              <a:gdLst>
                <a:gd name="connsiteX0" fmla="*/ 0 w 7498080"/>
                <a:gd name="connsiteY0" fmla="*/ 0 h 1330036"/>
                <a:gd name="connsiteX1" fmla="*/ 7498080 w 7498080"/>
                <a:gd name="connsiteY1" fmla="*/ 0 h 1330036"/>
                <a:gd name="connsiteX2" fmla="*/ 7498080 w 7498080"/>
                <a:gd name="connsiteY2" fmla="*/ 1330036 h 133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98080" h="1330036">
                  <a:moveTo>
                    <a:pt x="0" y="0"/>
                  </a:moveTo>
                  <a:lnTo>
                    <a:pt x="7498080" y="0"/>
                  </a:lnTo>
                  <a:lnTo>
                    <a:pt x="7498080" y="1330036"/>
                  </a:lnTo>
                </a:path>
              </a:pathLst>
            </a:cu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385075B-6166-4F87-ACB7-A74C725239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9830" y="4785042"/>
            <a:ext cx="3641725" cy="382588"/>
          </a:xfrm>
        </p:spPr>
        <p:txBody>
          <a:bodyPr/>
          <a:lstStyle>
            <a:lvl1pPr algn="r"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3F4FEC-5B6D-432D-A4EC-779B46AD5A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137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full photo background (white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EE576B0-5C7D-44D4-B882-162DBECAE9BC}"/>
              </a:ext>
            </a:extLst>
          </p:cNvPr>
          <p:cNvSpPr/>
          <p:nvPr userDrawn="1"/>
        </p:nvSpPr>
        <p:spPr>
          <a:xfrm>
            <a:off x="1373124" y="1371600"/>
            <a:ext cx="9445752" cy="41148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C3C63-6EB1-4AF9-AD8B-692230121E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30324" y="3086583"/>
            <a:ext cx="8531352" cy="1942618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unc sit </a:t>
            </a:r>
            <a:r>
              <a:rPr lang="en-US" err="1"/>
              <a:t>amet</a:t>
            </a:r>
            <a:r>
              <a:rPr lang="en-US"/>
              <a:t> nisi </a:t>
            </a:r>
            <a:r>
              <a:rPr lang="en-US" err="1"/>
              <a:t>interdum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 vel, </a:t>
            </a:r>
            <a:r>
              <a:rPr lang="en-US" err="1"/>
              <a:t>malesuada</a:t>
            </a:r>
            <a:r>
              <a:rPr lang="en-US"/>
              <a:t> nisi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vestibulum magna. Duis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cursus at in </a:t>
            </a:r>
            <a:r>
              <a:rPr lang="en-US" err="1"/>
              <a:t>ero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mi at cursus </a:t>
            </a:r>
            <a:r>
              <a:rPr lang="en-US" err="1"/>
              <a:t>iaculis</a:t>
            </a:r>
            <a:r>
              <a:rPr lang="en-US"/>
              <a:t>.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90F5218-AA52-43C9-B9CC-5554E8D4B6AA}"/>
              </a:ext>
            </a:extLst>
          </p:cNvPr>
          <p:cNvSpPr>
            <a:spLocks noChangeAspect="1"/>
          </p:cNvSpPr>
          <p:nvPr userDrawn="1"/>
        </p:nvSpPr>
        <p:spPr>
          <a:xfrm>
            <a:off x="1830324" y="1817612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62A67A-4624-4B4E-BA20-45F8F5FB2D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4264" y="2067985"/>
            <a:ext cx="7997412" cy="44319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9BE952-F6ED-4B85-A95E-4711A011DB2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328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full photo background (black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EE576B0-5C7D-44D4-B882-162DBECAE9BC}"/>
              </a:ext>
            </a:extLst>
          </p:cNvPr>
          <p:cNvSpPr/>
          <p:nvPr userDrawn="1"/>
        </p:nvSpPr>
        <p:spPr>
          <a:xfrm>
            <a:off x="1373124" y="1371600"/>
            <a:ext cx="9445752" cy="4114800"/>
          </a:xfrm>
          <a:prstGeom prst="rect">
            <a:avLst/>
          </a:prstGeom>
          <a:solidFill>
            <a:schemeClr val="bg2">
              <a:lumMod val="1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C3C63-6EB1-4AF9-AD8B-692230121E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30324" y="3086583"/>
            <a:ext cx="8531352" cy="1942618"/>
          </a:xfr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Nunc sit </a:t>
            </a:r>
            <a:r>
              <a:rPr lang="en-US" err="1"/>
              <a:t>amet</a:t>
            </a:r>
            <a:r>
              <a:rPr lang="en-US"/>
              <a:t> nisi </a:t>
            </a:r>
            <a:r>
              <a:rPr lang="en-US" err="1"/>
              <a:t>interdum</a:t>
            </a:r>
            <a:r>
              <a:rPr lang="en-US"/>
              <a:t>,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 vel, </a:t>
            </a:r>
            <a:r>
              <a:rPr lang="en-US" err="1"/>
              <a:t>malesuada</a:t>
            </a:r>
            <a:r>
              <a:rPr lang="en-US"/>
              <a:t> nisi.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fringilla</a:t>
            </a:r>
            <a:r>
              <a:rPr lang="en-US"/>
              <a:t> vestibulum magna. Duis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 cursus at in </a:t>
            </a:r>
            <a:r>
              <a:rPr lang="en-US" err="1"/>
              <a:t>ero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luctus</a:t>
            </a:r>
            <a:r>
              <a:rPr lang="en-US"/>
              <a:t> mi at cursus </a:t>
            </a:r>
            <a:r>
              <a:rPr lang="en-US" err="1"/>
              <a:t>iaculis</a:t>
            </a:r>
            <a:r>
              <a:rPr lang="en-US"/>
              <a:t>.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90F5218-AA52-43C9-B9CC-5554E8D4B6AA}"/>
              </a:ext>
            </a:extLst>
          </p:cNvPr>
          <p:cNvSpPr>
            <a:spLocks noChangeAspect="1"/>
          </p:cNvSpPr>
          <p:nvPr userDrawn="1"/>
        </p:nvSpPr>
        <p:spPr>
          <a:xfrm>
            <a:off x="1830324" y="1817612"/>
            <a:ext cx="411480" cy="822960"/>
          </a:xfrm>
          <a:custGeom>
            <a:avLst/>
            <a:gdLst>
              <a:gd name="connsiteX0" fmla="*/ 2663137 w 2663137"/>
              <a:gd name="connsiteY0" fmla="*/ 0 h 5326274"/>
              <a:gd name="connsiteX1" fmla="*/ 2663137 w 2663137"/>
              <a:gd name="connsiteY1" fmla="*/ 5326274 h 5326274"/>
              <a:gd name="connsiteX2" fmla="*/ 0 w 2663137"/>
              <a:gd name="connsiteY2" fmla="*/ 2663137 h 5326274"/>
              <a:gd name="connsiteX3" fmla="*/ 2663137 w 2663137"/>
              <a:gd name="connsiteY3" fmla="*/ 0 h 532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137" h="5326274">
                <a:moveTo>
                  <a:pt x="2663137" y="0"/>
                </a:moveTo>
                <a:lnTo>
                  <a:pt x="2663137" y="5326274"/>
                </a:lnTo>
                <a:cubicBezTo>
                  <a:pt x="1192327" y="5326274"/>
                  <a:pt x="0" y="4133947"/>
                  <a:pt x="0" y="2663137"/>
                </a:cubicBezTo>
                <a:cubicBezTo>
                  <a:pt x="0" y="1192327"/>
                  <a:pt x="1192327" y="0"/>
                  <a:pt x="26631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62A67A-4624-4B4E-BA20-45F8F5FB2D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4264" y="2067985"/>
            <a:ext cx="7997412" cy="44319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B161F9-8C8B-474E-91F8-E620B47455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17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6396" y="6482886"/>
            <a:ext cx="7575715" cy="111982"/>
          </a:xfrm>
        </p:spPr>
        <p:txBody>
          <a:bodyPr/>
          <a:lstStyle/>
          <a:p>
            <a:pPr marL="7701">
              <a:spcBef>
                <a:spcPts val="76"/>
              </a:spcBef>
            </a:pPr>
            <a:r>
              <a:rPr lang="en-GB" spc="3"/>
              <a:t>Meeting of the Technical Advisory Group of the Full Value of Improved Influenza Vaccines Assessmen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408" y="6482886"/>
            <a:ext cx="897196" cy="111982"/>
          </a:xfrm>
        </p:spPr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96" y="459732"/>
            <a:ext cx="7789138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368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11042887" cy="3007436"/>
          </a:xfrm>
        </p:spPr>
        <p:txBody>
          <a:bodyPr wrap="square" numCol="2" spcCol="756000">
            <a:noAutofit/>
          </a:bodyPr>
          <a:lstStyle>
            <a:lvl1pPr marL="311902" indent="-311902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902" indent="-311902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22479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short title star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1EDC289-0DC2-4EAE-9AC9-8A1D50EA6A9A}"/>
              </a:ext>
            </a:extLst>
          </p:cNvPr>
          <p:cNvGrpSpPr/>
          <p:nvPr userDrawn="1"/>
        </p:nvGrpSpPr>
        <p:grpSpPr>
          <a:xfrm>
            <a:off x="1013076" y="1709928"/>
            <a:ext cx="3438144" cy="5148072"/>
            <a:chOff x="7836408" y="1709928"/>
            <a:chExt cx="3438144" cy="5148072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488995F-23C0-4953-852F-57747D16BD4F}"/>
                </a:ext>
              </a:extLst>
            </p:cNvPr>
            <p:cNvSpPr/>
            <p:nvPr/>
          </p:nvSpPr>
          <p:spPr>
            <a:xfrm>
              <a:off x="7836408" y="1709928"/>
              <a:ext cx="3438144" cy="3438144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3E1C46D-3BE3-42D1-BCBD-8AD5F9DF49B4}"/>
                </a:ext>
              </a:extLst>
            </p:cNvPr>
            <p:cNvSpPr txBox="1"/>
            <p:nvPr/>
          </p:nvSpPr>
          <p:spPr>
            <a:xfrm>
              <a:off x="8785805" y="1927477"/>
              <a:ext cx="76967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0" b="1">
                  <a:solidFill>
                    <a:schemeClr val="accent1"/>
                  </a:solidFill>
                </a:rPr>
                <a:t>0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C6F0F3DC-33E2-4D72-980A-0E97DE2525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3608" y="3429000"/>
              <a:ext cx="252374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A745FCE-9C71-4EA7-A5AD-1B4E097E1478}"/>
                </a:ext>
              </a:extLst>
            </p:cNvPr>
            <p:cNvCxnSpPr>
              <a:stCxn id="4" idx="4"/>
            </p:cNvCxnSpPr>
            <p:nvPr/>
          </p:nvCxnSpPr>
          <p:spPr>
            <a:xfrm flipH="1">
              <a:off x="9555479" y="5148072"/>
              <a:ext cx="1" cy="1709928"/>
            </a:xfrm>
            <a:prstGeom prst="line">
              <a:avLst/>
            </a:prstGeom>
            <a:ln w="7620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D606FB-4D30-413F-BA00-8650EA859E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32148" y="1929384"/>
            <a:ext cx="632154" cy="1325880"/>
          </a:xfrm>
        </p:spPr>
        <p:txBody>
          <a:bodyPr anchor="ctr"/>
          <a:lstStyle>
            <a:lvl1pPr>
              <a:lnSpc>
                <a:spcPct val="100000"/>
              </a:lnSpc>
              <a:defRPr sz="8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1613205-3015-4C71-80F1-C57E8AFDD9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252" y="3602737"/>
            <a:ext cx="2705795" cy="825003"/>
          </a:xfrm>
        </p:spPr>
        <p:txBody>
          <a:bodyPr/>
          <a:lstStyle>
            <a:lvl1pPr algn="ctr"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67522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short title midd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1EDC289-0DC2-4EAE-9AC9-8A1D50EA6A9A}"/>
              </a:ext>
            </a:extLst>
          </p:cNvPr>
          <p:cNvGrpSpPr/>
          <p:nvPr userDrawn="1"/>
        </p:nvGrpSpPr>
        <p:grpSpPr>
          <a:xfrm>
            <a:off x="1013077" y="1709928"/>
            <a:ext cx="3438144" cy="5148072"/>
            <a:chOff x="7836408" y="1709928"/>
            <a:chExt cx="3438144" cy="5148072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488995F-23C0-4953-852F-57747D16BD4F}"/>
                </a:ext>
              </a:extLst>
            </p:cNvPr>
            <p:cNvSpPr/>
            <p:nvPr/>
          </p:nvSpPr>
          <p:spPr>
            <a:xfrm>
              <a:off x="7836408" y="1709928"/>
              <a:ext cx="3438144" cy="3438144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3E1C46D-3BE3-42D1-BCBD-8AD5F9DF49B4}"/>
                </a:ext>
              </a:extLst>
            </p:cNvPr>
            <p:cNvSpPr txBox="1"/>
            <p:nvPr/>
          </p:nvSpPr>
          <p:spPr>
            <a:xfrm>
              <a:off x="8785805" y="1927477"/>
              <a:ext cx="76967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0" b="1">
                  <a:solidFill>
                    <a:schemeClr val="accent1"/>
                  </a:solidFill>
                </a:rPr>
                <a:t>0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C6F0F3DC-33E2-4D72-980A-0E97DE2525A6}"/>
                </a:ext>
              </a:extLst>
            </p:cNvPr>
            <p:cNvCxnSpPr>
              <a:cxnSpLocks/>
            </p:cNvCxnSpPr>
            <p:nvPr/>
          </p:nvCxnSpPr>
          <p:spPr>
            <a:xfrm>
              <a:off x="8293608" y="3429000"/>
              <a:ext cx="252374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A745FCE-9C71-4EA7-A5AD-1B4E097E1478}"/>
                </a:ext>
              </a:extLst>
            </p:cNvPr>
            <p:cNvCxnSpPr>
              <a:stCxn id="4" idx="4"/>
            </p:cNvCxnSpPr>
            <p:nvPr/>
          </p:nvCxnSpPr>
          <p:spPr>
            <a:xfrm flipH="1">
              <a:off x="9555479" y="5148072"/>
              <a:ext cx="1" cy="1709928"/>
            </a:xfrm>
            <a:prstGeom prst="line">
              <a:avLst/>
            </a:prstGeom>
            <a:ln w="7620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D606FB-4D30-413F-BA00-8650EA859E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32148" y="1929384"/>
            <a:ext cx="632154" cy="1325880"/>
          </a:xfrm>
        </p:spPr>
        <p:txBody>
          <a:bodyPr anchor="ctr"/>
          <a:lstStyle>
            <a:lvl1pPr>
              <a:lnSpc>
                <a:spcPct val="100000"/>
              </a:lnSpc>
              <a:defRPr sz="8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1613205-3015-4C71-80F1-C57E8AFDD9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252" y="3602737"/>
            <a:ext cx="2705795" cy="825003"/>
          </a:xfrm>
        </p:spPr>
        <p:txBody>
          <a:bodyPr/>
          <a:lstStyle>
            <a:lvl1pPr algn="ctr"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TITLE GOES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DD1AB6-6BB1-4CEB-8E86-3609AA0D53B9}"/>
              </a:ext>
            </a:extLst>
          </p:cNvPr>
          <p:cNvCxnSpPr>
            <a:cxnSpLocks/>
          </p:cNvCxnSpPr>
          <p:nvPr userDrawn="1"/>
        </p:nvCxnSpPr>
        <p:spPr>
          <a:xfrm>
            <a:off x="2732149" y="74295"/>
            <a:ext cx="0" cy="1560385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5883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short title e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C9BDD20-D5FA-48B2-92C2-DD1678F0317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DD1AB6-6BB1-4CEB-8E86-3609AA0D53B9}"/>
              </a:ext>
            </a:extLst>
          </p:cNvPr>
          <p:cNvCxnSpPr>
            <a:cxnSpLocks/>
          </p:cNvCxnSpPr>
          <p:nvPr userDrawn="1"/>
        </p:nvCxnSpPr>
        <p:spPr>
          <a:xfrm>
            <a:off x="2732149" y="74295"/>
            <a:ext cx="0" cy="1560385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1613205-3015-4C71-80F1-C57E8AFDD9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70279" y="3016498"/>
            <a:ext cx="2347442" cy="825003"/>
          </a:xfrm>
        </p:spPr>
        <p:txBody>
          <a:bodyPr anchor="ctr"/>
          <a:lstStyle>
            <a:lvl1pPr algn="ctr">
              <a:lnSpc>
                <a:spcPct val="100000"/>
              </a:lnSpc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ANK</a:t>
            </a:r>
            <a:br>
              <a:rPr lang="en-US"/>
            </a:br>
            <a:r>
              <a:rPr lang="en-US"/>
              <a:t>YOU!</a:t>
            </a: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44C0D4E4-0407-4384-A595-80BF59F18C9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2500" y="1709928"/>
            <a:ext cx="4800600" cy="3571080"/>
            <a:chOff x="3770" y="1616"/>
            <a:chExt cx="1757" cy="1307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FC4946D8-C988-4706-8CC9-C9F58A5B6481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770" y="1616"/>
              <a:ext cx="1757" cy="1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A6B46F2-4DD2-4447-BACF-890F6E8B7E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0" y="1616"/>
              <a:ext cx="651" cy="1307"/>
            </a:xfrm>
            <a:custGeom>
              <a:avLst/>
              <a:gdLst>
                <a:gd name="T0" fmla="*/ 156 w 165"/>
                <a:gd name="T1" fmla="*/ 232 h 331"/>
                <a:gd name="T2" fmla="*/ 145 w 165"/>
                <a:gd name="T3" fmla="*/ 243 h 331"/>
                <a:gd name="T4" fmla="*/ 140 w 165"/>
                <a:gd name="T5" fmla="*/ 243 h 331"/>
                <a:gd name="T6" fmla="*/ 129 w 165"/>
                <a:gd name="T7" fmla="*/ 232 h 331"/>
                <a:gd name="T8" fmla="*/ 129 w 165"/>
                <a:gd name="T9" fmla="*/ 88 h 331"/>
                <a:gd name="T10" fmla="*/ 145 w 165"/>
                <a:gd name="T11" fmla="*/ 88 h 331"/>
                <a:gd name="T12" fmla="*/ 156 w 165"/>
                <a:gd name="T13" fmla="*/ 99 h 331"/>
                <a:gd name="T14" fmla="*/ 156 w 165"/>
                <a:gd name="T15" fmla="*/ 232 h 331"/>
                <a:gd name="T16" fmla="*/ 113 w 165"/>
                <a:gd name="T17" fmla="*/ 232 h 331"/>
                <a:gd name="T18" fmla="*/ 102 w 165"/>
                <a:gd name="T19" fmla="*/ 243 h 331"/>
                <a:gd name="T20" fmla="*/ 96 w 165"/>
                <a:gd name="T21" fmla="*/ 243 h 331"/>
                <a:gd name="T22" fmla="*/ 85 w 165"/>
                <a:gd name="T23" fmla="*/ 232 h 331"/>
                <a:gd name="T24" fmla="*/ 85 w 165"/>
                <a:gd name="T25" fmla="*/ 88 h 331"/>
                <a:gd name="T26" fmla="*/ 102 w 165"/>
                <a:gd name="T27" fmla="*/ 88 h 331"/>
                <a:gd name="T28" fmla="*/ 113 w 165"/>
                <a:gd name="T29" fmla="*/ 99 h 331"/>
                <a:gd name="T30" fmla="*/ 113 w 165"/>
                <a:gd name="T31" fmla="*/ 232 h 331"/>
                <a:gd name="T32" fmla="*/ 69 w 165"/>
                <a:gd name="T33" fmla="*/ 232 h 331"/>
                <a:gd name="T34" fmla="*/ 58 w 165"/>
                <a:gd name="T35" fmla="*/ 243 h 331"/>
                <a:gd name="T36" fmla="*/ 53 w 165"/>
                <a:gd name="T37" fmla="*/ 243 h 331"/>
                <a:gd name="T38" fmla="*/ 42 w 165"/>
                <a:gd name="T39" fmla="*/ 232 h 331"/>
                <a:gd name="T40" fmla="*/ 42 w 165"/>
                <a:gd name="T41" fmla="*/ 88 h 331"/>
                <a:gd name="T42" fmla="*/ 58 w 165"/>
                <a:gd name="T43" fmla="*/ 88 h 331"/>
                <a:gd name="T44" fmla="*/ 69 w 165"/>
                <a:gd name="T45" fmla="*/ 99 h 331"/>
                <a:gd name="T46" fmla="*/ 69 w 165"/>
                <a:gd name="T47" fmla="*/ 232 h 331"/>
                <a:gd name="T48" fmla="*/ 165 w 165"/>
                <a:gd name="T49" fmla="*/ 331 h 331"/>
                <a:gd name="T50" fmla="*/ 165 w 165"/>
                <a:gd name="T51" fmla="*/ 0 h 331"/>
                <a:gd name="T52" fmla="*/ 0 w 165"/>
                <a:gd name="T53" fmla="*/ 166 h 331"/>
                <a:gd name="T54" fmla="*/ 165 w 165"/>
                <a:gd name="T55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5" h="331">
                  <a:moveTo>
                    <a:pt x="156" y="232"/>
                  </a:moveTo>
                  <a:cubicBezTo>
                    <a:pt x="156" y="243"/>
                    <a:pt x="145" y="243"/>
                    <a:pt x="145" y="243"/>
                  </a:cubicBezTo>
                  <a:cubicBezTo>
                    <a:pt x="140" y="243"/>
                    <a:pt x="140" y="243"/>
                    <a:pt x="140" y="243"/>
                  </a:cubicBezTo>
                  <a:cubicBezTo>
                    <a:pt x="129" y="243"/>
                    <a:pt x="129" y="232"/>
                    <a:pt x="129" y="232"/>
                  </a:cubicBezTo>
                  <a:cubicBezTo>
                    <a:pt x="129" y="88"/>
                    <a:pt x="129" y="88"/>
                    <a:pt x="129" y="88"/>
                  </a:cubicBezTo>
                  <a:cubicBezTo>
                    <a:pt x="145" y="88"/>
                    <a:pt x="145" y="88"/>
                    <a:pt x="145" y="88"/>
                  </a:cubicBezTo>
                  <a:cubicBezTo>
                    <a:pt x="156" y="88"/>
                    <a:pt x="156" y="99"/>
                    <a:pt x="156" y="99"/>
                  </a:cubicBezTo>
                  <a:lnTo>
                    <a:pt x="156" y="232"/>
                  </a:lnTo>
                  <a:close/>
                  <a:moveTo>
                    <a:pt x="113" y="232"/>
                  </a:moveTo>
                  <a:cubicBezTo>
                    <a:pt x="113" y="243"/>
                    <a:pt x="102" y="243"/>
                    <a:pt x="102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85" y="243"/>
                    <a:pt x="85" y="232"/>
                    <a:pt x="85" y="232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102" y="88"/>
                    <a:pt x="102" y="88"/>
                    <a:pt x="102" y="88"/>
                  </a:cubicBezTo>
                  <a:cubicBezTo>
                    <a:pt x="113" y="88"/>
                    <a:pt x="113" y="99"/>
                    <a:pt x="113" y="99"/>
                  </a:cubicBezTo>
                  <a:lnTo>
                    <a:pt x="113" y="232"/>
                  </a:lnTo>
                  <a:close/>
                  <a:moveTo>
                    <a:pt x="69" y="232"/>
                  </a:moveTo>
                  <a:cubicBezTo>
                    <a:pt x="69" y="243"/>
                    <a:pt x="58" y="243"/>
                    <a:pt x="58" y="243"/>
                  </a:cubicBezTo>
                  <a:cubicBezTo>
                    <a:pt x="53" y="243"/>
                    <a:pt x="53" y="243"/>
                    <a:pt x="53" y="243"/>
                  </a:cubicBezTo>
                  <a:cubicBezTo>
                    <a:pt x="42" y="243"/>
                    <a:pt x="42" y="232"/>
                    <a:pt x="42" y="232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69" y="88"/>
                    <a:pt x="69" y="99"/>
                    <a:pt x="69" y="99"/>
                  </a:cubicBezTo>
                  <a:lnTo>
                    <a:pt x="69" y="232"/>
                  </a:lnTo>
                  <a:close/>
                  <a:moveTo>
                    <a:pt x="165" y="331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74" y="0"/>
                    <a:pt x="0" y="74"/>
                    <a:pt x="0" y="166"/>
                  </a:cubicBezTo>
                  <a:cubicBezTo>
                    <a:pt x="0" y="257"/>
                    <a:pt x="74" y="331"/>
                    <a:pt x="165" y="33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552AB9B-8E92-45CC-BAF8-7ED189F1BD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" y="1963"/>
              <a:ext cx="106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5C44BCA-65FE-4C7E-B6B8-2EE24802A8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5" y="1963"/>
              <a:ext cx="110" cy="612"/>
            </a:xfrm>
            <a:custGeom>
              <a:avLst/>
              <a:gdLst>
                <a:gd name="T0" fmla="*/ 0 w 28"/>
                <a:gd name="T1" fmla="*/ 0 h 155"/>
                <a:gd name="T2" fmla="*/ 0 w 28"/>
                <a:gd name="T3" fmla="*/ 144 h 155"/>
                <a:gd name="T4" fmla="*/ 11 w 28"/>
                <a:gd name="T5" fmla="*/ 155 h 155"/>
                <a:gd name="T6" fmla="*/ 17 w 28"/>
                <a:gd name="T7" fmla="*/ 155 h 155"/>
                <a:gd name="T8" fmla="*/ 28 w 28"/>
                <a:gd name="T9" fmla="*/ 144 h 155"/>
                <a:gd name="T10" fmla="*/ 28 w 28"/>
                <a:gd name="T11" fmla="*/ 11 h 155"/>
                <a:gd name="T12" fmla="*/ 17 w 28"/>
                <a:gd name="T13" fmla="*/ 0 h 155"/>
                <a:gd name="T14" fmla="*/ 0 w 28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155"/>
                    <a:pt x="28" y="155"/>
                    <a:pt x="28" y="144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0"/>
                    <a:pt x="1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95A36F0-4C37-4066-BB9B-8DBDA1364A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08" y="1963"/>
              <a:ext cx="107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56E8AC0-3385-49C1-B099-CA609260CB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658"/>
              <a:ext cx="1066" cy="111"/>
            </a:xfrm>
            <a:custGeom>
              <a:avLst/>
              <a:gdLst>
                <a:gd name="T0" fmla="*/ 270 w 270"/>
                <a:gd name="T1" fmla="*/ 26 h 28"/>
                <a:gd name="T2" fmla="*/ 265 w 270"/>
                <a:gd name="T3" fmla="*/ 11 h 28"/>
                <a:gd name="T4" fmla="*/ 254 w 270"/>
                <a:gd name="T5" fmla="*/ 3 h 28"/>
                <a:gd name="T6" fmla="*/ 259 w 270"/>
                <a:gd name="T7" fmla="*/ 15 h 28"/>
                <a:gd name="T8" fmla="*/ 233 w 270"/>
                <a:gd name="T9" fmla="*/ 5 h 28"/>
                <a:gd name="T10" fmla="*/ 242 w 270"/>
                <a:gd name="T11" fmla="*/ 26 h 28"/>
                <a:gd name="T12" fmla="*/ 246 w 270"/>
                <a:gd name="T13" fmla="*/ 1 h 28"/>
                <a:gd name="T14" fmla="*/ 219 w 270"/>
                <a:gd name="T15" fmla="*/ 0 h 28"/>
                <a:gd name="T16" fmla="*/ 229 w 270"/>
                <a:gd name="T17" fmla="*/ 28 h 28"/>
                <a:gd name="T18" fmla="*/ 199 w 270"/>
                <a:gd name="T19" fmla="*/ 17 h 28"/>
                <a:gd name="T20" fmla="*/ 199 w 270"/>
                <a:gd name="T21" fmla="*/ 17 h 28"/>
                <a:gd name="T22" fmla="*/ 211 w 270"/>
                <a:gd name="T23" fmla="*/ 26 h 28"/>
                <a:gd name="T24" fmla="*/ 197 w 270"/>
                <a:gd name="T25" fmla="*/ 4 h 28"/>
                <a:gd name="T26" fmla="*/ 197 w 270"/>
                <a:gd name="T27" fmla="*/ 26 h 28"/>
                <a:gd name="T28" fmla="*/ 183 w 270"/>
                <a:gd name="T29" fmla="*/ 16 h 28"/>
                <a:gd name="T30" fmla="*/ 176 w 270"/>
                <a:gd name="T31" fmla="*/ 5 h 28"/>
                <a:gd name="T32" fmla="*/ 174 w 270"/>
                <a:gd name="T33" fmla="*/ 1 h 28"/>
                <a:gd name="T34" fmla="*/ 184 w 270"/>
                <a:gd name="T35" fmla="*/ 28 h 28"/>
                <a:gd name="T36" fmla="*/ 176 w 270"/>
                <a:gd name="T37" fmla="*/ 16 h 28"/>
                <a:gd name="T38" fmla="*/ 163 w 270"/>
                <a:gd name="T39" fmla="*/ 26 h 28"/>
                <a:gd name="T40" fmla="*/ 158 w 270"/>
                <a:gd name="T41" fmla="*/ 11 h 28"/>
                <a:gd name="T42" fmla="*/ 147 w 270"/>
                <a:gd name="T43" fmla="*/ 3 h 28"/>
                <a:gd name="T44" fmla="*/ 152 w 270"/>
                <a:gd name="T45" fmla="*/ 15 h 28"/>
                <a:gd name="T46" fmla="*/ 115 w 270"/>
                <a:gd name="T47" fmla="*/ 0 h 28"/>
                <a:gd name="T48" fmla="*/ 125 w 270"/>
                <a:gd name="T49" fmla="*/ 28 h 28"/>
                <a:gd name="T50" fmla="*/ 94 w 270"/>
                <a:gd name="T51" fmla="*/ 17 h 28"/>
                <a:gd name="T52" fmla="*/ 94 w 270"/>
                <a:gd name="T53" fmla="*/ 17 h 28"/>
                <a:gd name="T54" fmla="*/ 106 w 270"/>
                <a:gd name="T55" fmla="*/ 26 h 28"/>
                <a:gd name="T56" fmla="*/ 93 w 270"/>
                <a:gd name="T57" fmla="*/ 4 h 28"/>
                <a:gd name="T58" fmla="*/ 93 w 270"/>
                <a:gd name="T59" fmla="*/ 26 h 28"/>
                <a:gd name="T60" fmla="*/ 74 w 270"/>
                <a:gd name="T61" fmla="*/ 4 h 28"/>
                <a:gd name="T62" fmla="*/ 71 w 270"/>
                <a:gd name="T63" fmla="*/ 4 h 28"/>
                <a:gd name="T64" fmla="*/ 74 w 270"/>
                <a:gd name="T65" fmla="*/ 24 h 28"/>
                <a:gd name="T66" fmla="*/ 69 w 270"/>
                <a:gd name="T67" fmla="*/ 28 h 28"/>
                <a:gd name="T68" fmla="*/ 81 w 270"/>
                <a:gd name="T69" fmla="*/ 8 h 28"/>
                <a:gd name="T70" fmla="*/ 66 w 270"/>
                <a:gd name="T71" fmla="*/ 25 h 28"/>
                <a:gd name="T72" fmla="*/ 54 w 270"/>
                <a:gd name="T73" fmla="*/ 17 h 28"/>
                <a:gd name="T74" fmla="*/ 42 w 270"/>
                <a:gd name="T75" fmla="*/ 17 h 28"/>
                <a:gd name="T76" fmla="*/ 51 w 270"/>
                <a:gd name="T77" fmla="*/ 0 h 28"/>
                <a:gd name="T78" fmla="*/ 28 w 270"/>
                <a:gd name="T79" fmla="*/ 3 h 28"/>
                <a:gd name="T80" fmla="*/ 26 w 270"/>
                <a:gd name="T81" fmla="*/ 28 h 28"/>
                <a:gd name="T82" fmla="*/ 28 w 270"/>
                <a:gd name="T83" fmla="*/ 23 h 28"/>
                <a:gd name="T84" fmla="*/ 7 w 270"/>
                <a:gd name="T85" fmla="*/ 15 h 28"/>
                <a:gd name="T86" fmla="*/ 8 w 270"/>
                <a:gd name="T87" fmla="*/ 24 h 28"/>
                <a:gd name="T88" fmla="*/ 11 w 270"/>
                <a:gd name="T89" fmla="*/ 6 h 28"/>
                <a:gd name="T90" fmla="*/ 0 w 270"/>
                <a:gd name="T91" fmla="*/ 12 h 28"/>
                <a:gd name="T92" fmla="*/ 12 w 270"/>
                <a:gd name="T93" fmla="*/ 25 h 28"/>
                <a:gd name="T94" fmla="*/ 16 w 270"/>
                <a:gd name="T95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0" h="28">
                  <a:moveTo>
                    <a:pt x="265" y="15"/>
                  </a:moveTo>
                  <a:cubicBezTo>
                    <a:pt x="265" y="26"/>
                    <a:pt x="265" y="26"/>
                    <a:pt x="265" y="26"/>
                  </a:cubicBezTo>
                  <a:cubicBezTo>
                    <a:pt x="265" y="27"/>
                    <a:pt x="267" y="28"/>
                    <a:pt x="268" y="28"/>
                  </a:cubicBezTo>
                  <a:cubicBezTo>
                    <a:pt x="269" y="28"/>
                    <a:pt x="270" y="27"/>
                    <a:pt x="270" y="26"/>
                  </a:cubicBezTo>
                  <a:cubicBezTo>
                    <a:pt x="270" y="3"/>
                    <a:pt x="270" y="3"/>
                    <a:pt x="270" y="3"/>
                  </a:cubicBezTo>
                  <a:cubicBezTo>
                    <a:pt x="270" y="1"/>
                    <a:pt x="269" y="0"/>
                    <a:pt x="268" y="0"/>
                  </a:cubicBezTo>
                  <a:cubicBezTo>
                    <a:pt x="267" y="0"/>
                    <a:pt x="265" y="1"/>
                    <a:pt x="265" y="3"/>
                  </a:cubicBezTo>
                  <a:cubicBezTo>
                    <a:pt x="265" y="11"/>
                    <a:pt x="265" y="11"/>
                    <a:pt x="265" y="11"/>
                  </a:cubicBezTo>
                  <a:cubicBezTo>
                    <a:pt x="259" y="11"/>
                    <a:pt x="259" y="11"/>
                    <a:pt x="259" y="11"/>
                  </a:cubicBezTo>
                  <a:cubicBezTo>
                    <a:pt x="259" y="3"/>
                    <a:pt x="259" y="3"/>
                    <a:pt x="259" y="3"/>
                  </a:cubicBezTo>
                  <a:cubicBezTo>
                    <a:pt x="259" y="1"/>
                    <a:pt x="258" y="0"/>
                    <a:pt x="256" y="0"/>
                  </a:cubicBezTo>
                  <a:cubicBezTo>
                    <a:pt x="255" y="0"/>
                    <a:pt x="254" y="1"/>
                    <a:pt x="254" y="3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54" y="27"/>
                    <a:pt x="255" y="28"/>
                    <a:pt x="256" y="28"/>
                  </a:cubicBezTo>
                  <a:cubicBezTo>
                    <a:pt x="258" y="28"/>
                    <a:pt x="259" y="27"/>
                    <a:pt x="259" y="26"/>
                  </a:cubicBezTo>
                  <a:cubicBezTo>
                    <a:pt x="259" y="15"/>
                    <a:pt x="259" y="15"/>
                    <a:pt x="259" y="15"/>
                  </a:cubicBezTo>
                  <a:lnTo>
                    <a:pt x="265" y="15"/>
                  </a:lnTo>
                  <a:close/>
                  <a:moveTo>
                    <a:pt x="233" y="1"/>
                  </a:moveTo>
                  <a:cubicBezTo>
                    <a:pt x="231" y="1"/>
                    <a:pt x="231" y="2"/>
                    <a:pt x="231" y="3"/>
                  </a:cubicBezTo>
                  <a:cubicBezTo>
                    <a:pt x="231" y="4"/>
                    <a:pt x="231" y="5"/>
                    <a:pt x="233" y="5"/>
                  </a:cubicBezTo>
                  <a:cubicBezTo>
                    <a:pt x="237" y="5"/>
                    <a:pt x="237" y="5"/>
                    <a:pt x="237" y="5"/>
                  </a:cubicBezTo>
                  <a:cubicBezTo>
                    <a:pt x="237" y="26"/>
                    <a:pt x="237" y="26"/>
                    <a:pt x="237" y="26"/>
                  </a:cubicBezTo>
                  <a:cubicBezTo>
                    <a:pt x="237" y="27"/>
                    <a:pt x="238" y="28"/>
                    <a:pt x="240" y="28"/>
                  </a:cubicBezTo>
                  <a:cubicBezTo>
                    <a:pt x="241" y="28"/>
                    <a:pt x="242" y="27"/>
                    <a:pt x="242" y="26"/>
                  </a:cubicBezTo>
                  <a:cubicBezTo>
                    <a:pt x="242" y="5"/>
                    <a:pt x="242" y="5"/>
                    <a:pt x="242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8" y="5"/>
                    <a:pt x="249" y="4"/>
                    <a:pt x="249" y="3"/>
                  </a:cubicBezTo>
                  <a:cubicBezTo>
                    <a:pt x="249" y="2"/>
                    <a:pt x="248" y="1"/>
                    <a:pt x="246" y="1"/>
                  </a:cubicBezTo>
                  <a:lnTo>
                    <a:pt x="233" y="1"/>
                  </a:lnTo>
                  <a:close/>
                  <a:moveTo>
                    <a:pt x="222" y="23"/>
                  </a:moveTo>
                  <a:cubicBezTo>
                    <a:pt x="222" y="3"/>
                    <a:pt x="222" y="3"/>
                    <a:pt x="222" y="3"/>
                  </a:cubicBezTo>
                  <a:cubicBezTo>
                    <a:pt x="222" y="1"/>
                    <a:pt x="221" y="0"/>
                    <a:pt x="219" y="0"/>
                  </a:cubicBezTo>
                  <a:cubicBezTo>
                    <a:pt x="218" y="0"/>
                    <a:pt x="217" y="1"/>
                    <a:pt x="217" y="3"/>
                  </a:cubicBezTo>
                  <a:cubicBezTo>
                    <a:pt x="217" y="25"/>
                    <a:pt x="217" y="25"/>
                    <a:pt x="217" y="25"/>
                  </a:cubicBezTo>
                  <a:cubicBezTo>
                    <a:pt x="217" y="27"/>
                    <a:pt x="218" y="28"/>
                    <a:pt x="220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31" y="28"/>
                    <a:pt x="232" y="27"/>
                    <a:pt x="232" y="25"/>
                  </a:cubicBezTo>
                  <a:cubicBezTo>
                    <a:pt x="232" y="24"/>
                    <a:pt x="231" y="23"/>
                    <a:pt x="229" y="23"/>
                  </a:cubicBezTo>
                  <a:lnTo>
                    <a:pt x="222" y="23"/>
                  </a:lnTo>
                  <a:close/>
                  <a:moveTo>
                    <a:pt x="199" y="17"/>
                  </a:moveTo>
                  <a:cubicBezTo>
                    <a:pt x="201" y="6"/>
                    <a:pt x="201" y="6"/>
                    <a:pt x="201" y="6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4" y="17"/>
                    <a:pt x="204" y="17"/>
                    <a:pt x="204" y="17"/>
                  </a:cubicBezTo>
                  <a:lnTo>
                    <a:pt x="199" y="17"/>
                  </a:lnTo>
                  <a:close/>
                  <a:moveTo>
                    <a:pt x="204" y="21"/>
                  </a:moveTo>
                  <a:cubicBezTo>
                    <a:pt x="205" y="25"/>
                    <a:pt x="205" y="25"/>
                    <a:pt x="205" y="25"/>
                  </a:cubicBezTo>
                  <a:cubicBezTo>
                    <a:pt x="206" y="27"/>
                    <a:pt x="206" y="28"/>
                    <a:pt x="208" y="28"/>
                  </a:cubicBezTo>
                  <a:cubicBezTo>
                    <a:pt x="209" y="28"/>
                    <a:pt x="211" y="27"/>
                    <a:pt x="211" y="26"/>
                  </a:cubicBezTo>
                  <a:cubicBezTo>
                    <a:pt x="211" y="25"/>
                    <a:pt x="210" y="25"/>
                    <a:pt x="210" y="24"/>
                  </a:cubicBezTo>
                  <a:cubicBezTo>
                    <a:pt x="206" y="4"/>
                    <a:pt x="206" y="4"/>
                    <a:pt x="206" y="4"/>
                  </a:cubicBezTo>
                  <a:cubicBezTo>
                    <a:pt x="205" y="1"/>
                    <a:pt x="204" y="0"/>
                    <a:pt x="201" y="0"/>
                  </a:cubicBezTo>
                  <a:cubicBezTo>
                    <a:pt x="199" y="0"/>
                    <a:pt x="198" y="1"/>
                    <a:pt x="197" y="4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2" y="25"/>
                    <a:pt x="192" y="25"/>
                    <a:pt x="192" y="26"/>
                  </a:cubicBezTo>
                  <a:cubicBezTo>
                    <a:pt x="192" y="27"/>
                    <a:pt x="193" y="28"/>
                    <a:pt x="195" y="28"/>
                  </a:cubicBezTo>
                  <a:cubicBezTo>
                    <a:pt x="196" y="28"/>
                    <a:pt x="197" y="27"/>
                    <a:pt x="197" y="26"/>
                  </a:cubicBezTo>
                  <a:cubicBezTo>
                    <a:pt x="198" y="21"/>
                    <a:pt x="198" y="21"/>
                    <a:pt x="198" y="21"/>
                  </a:cubicBezTo>
                  <a:lnTo>
                    <a:pt x="204" y="21"/>
                  </a:lnTo>
                  <a:close/>
                  <a:moveTo>
                    <a:pt x="176" y="16"/>
                  </a:moveTo>
                  <a:cubicBezTo>
                    <a:pt x="183" y="16"/>
                    <a:pt x="183" y="16"/>
                    <a:pt x="183" y="16"/>
                  </a:cubicBezTo>
                  <a:cubicBezTo>
                    <a:pt x="185" y="16"/>
                    <a:pt x="186" y="15"/>
                    <a:pt x="186" y="14"/>
                  </a:cubicBezTo>
                  <a:cubicBezTo>
                    <a:pt x="186" y="12"/>
                    <a:pt x="185" y="11"/>
                    <a:pt x="183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6" y="5"/>
                    <a:pt x="176" y="5"/>
                    <a:pt x="176" y="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86" y="5"/>
                    <a:pt x="186" y="4"/>
                    <a:pt x="186" y="3"/>
                  </a:cubicBezTo>
                  <a:cubicBezTo>
                    <a:pt x="186" y="2"/>
                    <a:pt x="186" y="1"/>
                    <a:pt x="184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2" y="1"/>
                    <a:pt x="171" y="2"/>
                    <a:pt x="171" y="3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7"/>
                    <a:pt x="172" y="28"/>
                    <a:pt x="174" y="28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6" y="28"/>
                    <a:pt x="187" y="27"/>
                    <a:pt x="187" y="25"/>
                  </a:cubicBezTo>
                  <a:cubicBezTo>
                    <a:pt x="187" y="24"/>
                    <a:pt x="186" y="23"/>
                    <a:pt x="184" y="23"/>
                  </a:cubicBezTo>
                  <a:cubicBezTo>
                    <a:pt x="176" y="23"/>
                    <a:pt x="176" y="23"/>
                    <a:pt x="176" y="23"/>
                  </a:cubicBezTo>
                  <a:lnTo>
                    <a:pt x="176" y="16"/>
                  </a:lnTo>
                  <a:close/>
                  <a:moveTo>
                    <a:pt x="158" y="15"/>
                  </a:moveTo>
                  <a:cubicBezTo>
                    <a:pt x="158" y="26"/>
                    <a:pt x="158" y="26"/>
                    <a:pt x="158" y="26"/>
                  </a:cubicBezTo>
                  <a:cubicBezTo>
                    <a:pt x="158" y="27"/>
                    <a:pt x="160" y="28"/>
                    <a:pt x="161" y="28"/>
                  </a:cubicBezTo>
                  <a:cubicBezTo>
                    <a:pt x="162" y="28"/>
                    <a:pt x="163" y="27"/>
                    <a:pt x="163" y="26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1"/>
                    <a:pt x="162" y="0"/>
                    <a:pt x="161" y="0"/>
                  </a:cubicBezTo>
                  <a:cubicBezTo>
                    <a:pt x="160" y="0"/>
                    <a:pt x="158" y="1"/>
                    <a:pt x="158" y="3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1"/>
                    <a:pt x="151" y="0"/>
                    <a:pt x="149" y="0"/>
                  </a:cubicBezTo>
                  <a:cubicBezTo>
                    <a:pt x="148" y="0"/>
                    <a:pt x="147" y="1"/>
                    <a:pt x="147" y="3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7" y="27"/>
                    <a:pt x="148" y="28"/>
                    <a:pt x="149" y="28"/>
                  </a:cubicBezTo>
                  <a:cubicBezTo>
                    <a:pt x="151" y="28"/>
                    <a:pt x="152" y="27"/>
                    <a:pt x="152" y="26"/>
                  </a:cubicBezTo>
                  <a:cubicBezTo>
                    <a:pt x="152" y="15"/>
                    <a:pt x="152" y="15"/>
                    <a:pt x="152" y="15"/>
                  </a:cubicBezTo>
                  <a:lnTo>
                    <a:pt x="158" y="15"/>
                  </a:lnTo>
                  <a:close/>
                  <a:moveTo>
                    <a:pt x="117" y="23"/>
                  </a:moveTo>
                  <a:cubicBezTo>
                    <a:pt x="117" y="3"/>
                    <a:pt x="117" y="3"/>
                    <a:pt x="117" y="3"/>
                  </a:cubicBezTo>
                  <a:cubicBezTo>
                    <a:pt x="117" y="1"/>
                    <a:pt x="116" y="0"/>
                    <a:pt x="115" y="0"/>
                  </a:cubicBezTo>
                  <a:cubicBezTo>
                    <a:pt x="114" y="0"/>
                    <a:pt x="112" y="1"/>
                    <a:pt x="112" y="3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12" y="27"/>
                    <a:pt x="113" y="28"/>
                    <a:pt x="115" y="28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7" y="28"/>
                    <a:pt x="128" y="27"/>
                    <a:pt x="128" y="25"/>
                  </a:cubicBezTo>
                  <a:cubicBezTo>
                    <a:pt x="128" y="24"/>
                    <a:pt x="127" y="23"/>
                    <a:pt x="125" y="23"/>
                  </a:cubicBezTo>
                  <a:lnTo>
                    <a:pt x="117" y="23"/>
                  </a:lnTo>
                  <a:close/>
                  <a:moveTo>
                    <a:pt x="94" y="17"/>
                  </a:moveTo>
                  <a:cubicBezTo>
                    <a:pt x="97" y="6"/>
                    <a:pt x="97" y="6"/>
                    <a:pt x="97" y="6"/>
                  </a:cubicBezTo>
                  <a:cubicBezTo>
                    <a:pt x="97" y="6"/>
                    <a:pt x="97" y="6"/>
                    <a:pt x="97" y="6"/>
                  </a:cubicBezTo>
                  <a:cubicBezTo>
                    <a:pt x="99" y="17"/>
                    <a:pt x="99" y="17"/>
                    <a:pt x="99" y="17"/>
                  </a:cubicBezTo>
                  <a:lnTo>
                    <a:pt x="94" y="17"/>
                  </a:lnTo>
                  <a:close/>
                  <a:moveTo>
                    <a:pt x="100" y="21"/>
                  </a:moveTo>
                  <a:cubicBezTo>
                    <a:pt x="101" y="25"/>
                    <a:pt x="101" y="25"/>
                    <a:pt x="101" y="25"/>
                  </a:cubicBezTo>
                  <a:cubicBezTo>
                    <a:pt x="101" y="27"/>
                    <a:pt x="102" y="28"/>
                    <a:pt x="104" y="28"/>
                  </a:cubicBezTo>
                  <a:cubicBezTo>
                    <a:pt x="105" y="28"/>
                    <a:pt x="106" y="27"/>
                    <a:pt x="106" y="26"/>
                  </a:cubicBezTo>
                  <a:cubicBezTo>
                    <a:pt x="106" y="25"/>
                    <a:pt x="106" y="25"/>
                    <a:pt x="106" y="2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0" y="1"/>
                    <a:pt x="99" y="0"/>
                    <a:pt x="97" y="0"/>
                  </a:cubicBezTo>
                  <a:cubicBezTo>
                    <a:pt x="94" y="0"/>
                    <a:pt x="93" y="1"/>
                    <a:pt x="93" y="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25"/>
                    <a:pt x="88" y="25"/>
                    <a:pt x="88" y="26"/>
                  </a:cubicBezTo>
                  <a:cubicBezTo>
                    <a:pt x="88" y="27"/>
                    <a:pt x="88" y="28"/>
                    <a:pt x="90" y="28"/>
                  </a:cubicBezTo>
                  <a:cubicBezTo>
                    <a:pt x="92" y="28"/>
                    <a:pt x="92" y="27"/>
                    <a:pt x="93" y="26"/>
                  </a:cubicBezTo>
                  <a:cubicBezTo>
                    <a:pt x="94" y="21"/>
                    <a:pt x="94" y="21"/>
                    <a:pt x="94" y="21"/>
                  </a:cubicBezTo>
                  <a:lnTo>
                    <a:pt x="100" y="21"/>
                  </a:lnTo>
                  <a:close/>
                  <a:moveTo>
                    <a:pt x="71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5" y="4"/>
                    <a:pt x="76" y="5"/>
                    <a:pt x="76" y="8"/>
                  </a:cubicBezTo>
                  <a:cubicBezTo>
                    <a:pt x="76" y="10"/>
                    <a:pt x="75" y="12"/>
                    <a:pt x="73" y="12"/>
                  </a:cubicBezTo>
                  <a:cubicBezTo>
                    <a:pt x="71" y="12"/>
                    <a:pt x="71" y="12"/>
                    <a:pt x="71" y="12"/>
                  </a:cubicBezTo>
                  <a:lnTo>
                    <a:pt x="71" y="4"/>
                  </a:lnTo>
                  <a:close/>
                  <a:moveTo>
                    <a:pt x="71" y="15"/>
                  </a:moveTo>
                  <a:cubicBezTo>
                    <a:pt x="74" y="15"/>
                    <a:pt x="74" y="15"/>
                    <a:pt x="74" y="15"/>
                  </a:cubicBezTo>
                  <a:cubicBezTo>
                    <a:pt x="76" y="15"/>
                    <a:pt x="77" y="17"/>
                    <a:pt x="77" y="19"/>
                  </a:cubicBezTo>
                  <a:cubicBezTo>
                    <a:pt x="77" y="22"/>
                    <a:pt x="76" y="24"/>
                    <a:pt x="74" y="24"/>
                  </a:cubicBezTo>
                  <a:cubicBezTo>
                    <a:pt x="71" y="24"/>
                    <a:pt x="71" y="24"/>
                    <a:pt x="71" y="24"/>
                  </a:cubicBezTo>
                  <a:lnTo>
                    <a:pt x="71" y="15"/>
                  </a:lnTo>
                  <a:close/>
                  <a:moveTo>
                    <a:pt x="66" y="25"/>
                  </a:moveTo>
                  <a:cubicBezTo>
                    <a:pt x="66" y="27"/>
                    <a:pt x="67" y="28"/>
                    <a:pt x="69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8"/>
                    <a:pt x="82" y="24"/>
                    <a:pt x="82" y="19"/>
                  </a:cubicBezTo>
                  <a:cubicBezTo>
                    <a:pt x="82" y="16"/>
                    <a:pt x="81" y="14"/>
                    <a:pt x="79" y="13"/>
                  </a:cubicBezTo>
                  <a:cubicBezTo>
                    <a:pt x="80" y="13"/>
                    <a:pt x="81" y="10"/>
                    <a:pt x="81" y="8"/>
                  </a:cubicBezTo>
                  <a:cubicBezTo>
                    <a:pt x="81" y="3"/>
                    <a:pt x="80" y="1"/>
                    <a:pt x="75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7" y="1"/>
                    <a:pt x="66" y="2"/>
                    <a:pt x="66" y="3"/>
                  </a:cubicBezTo>
                  <a:lnTo>
                    <a:pt x="66" y="25"/>
                  </a:lnTo>
                  <a:close/>
                  <a:moveTo>
                    <a:pt x="48" y="11"/>
                  </a:moveTo>
                  <a:cubicBezTo>
                    <a:pt x="48" y="5"/>
                    <a:pt x="49" y="4"/>
                    <a:pt x="51" y="4"/>
                  </a:cubicBezTo>
                  <a:cubicBezTo>
                    <a:pt x="52" y="4"/>
                    <a:pt x="54" y="5"/>
                    <a:pt x="54" y="11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23"/>
                    <a:pt x="53" y="24"/>
                    <a:pt x="51" y="24"/>
                  </a:cubicBezTo>
                  <a:cubicBezTo>
                    <a:pt x="48" y="24"/>
                    <a:pt x="48" y="23"/>
                    <a:pt x="48" y="17"/>
                  </a:cubicBezTo>
                  <a:lnTo>
                    <a:pt x="48" y="11"/>
                  </a:lnTo>
                  <a:close/>
                  <a:moveTo>
                    <a:pt x="42" y="17"/>
                  </a:moveTo>
                  <a:cubicBezTo>
                    <a:pt x="42" y="27"/>
                    <a:pt x="46" y="28"/>
                    <a:pt x="51" y="28"/>
                  </a:cubicBezTo>
                  <a:cubicBezTo>
                    <a:pt x="55" y="28"/>
                    <a:pt x="59" y="27"/>
                    <a:pt x="59" y="1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"/>
                    <a:pt x="55" y="0"/>
                    <a:pt x="51" y="0"/>
                  </a:cubicBezTo>
                  <a:cubicBezTo>
                    <a:pt x="46" y="0"/>
                    <a:pt x="42" y="1"/>
                    <a:pt x="42" y="11"/>
                  </a:cubicBezTo>
                  <a:lnTo>
                    <a:pt x="42" y="17"/>
                  </a:lnTo>
                  <a:close/>
                  <a:moveTo>
                    <a:pt x="28" y="2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25" y="0"/>
                    <a:pt x="23" y="1"/>
                    <a:pt x="23" y="3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7"/>
                    <a:pt x="24" y="28"/>
                    <a:pt x="2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8" y="28"/>
                    <a:pt x="39" y="27"/>
                    <a:pt x="39" y="25"/>
                  </a:cubicBezTo>
                  <a:cubicBezTo>
                    <a:pt x="39" y="24"/>
                    <a:pt x="38" y="23"/>
                    <a:pt x="36" y="23"/>
                  </a:cubicBezTo>
                  <a:lnTo>
                    <a:pt x="28" y="23"/>
                  </a:lnTo>
                  <a:close/>
                  <a:moveTo>
                    <a:pt x="16" y="15"/>
                  </a:moveTo>
                  <a:cubicBezTo>
                    <a:pt x="16" y="14"/>
                    <a:pt x="15" y="13"/>
                    <a:pt x="13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7" y="14"/>
                    <a:pt x="7" y="15"/>
                  </a:cubicBezTo>
                  <a:cubicBezTo>
                    <a:pt x="7" y="16"/>
                    <a:pt x="8" y="17"/>
                    <a:pt x="9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10" y="24"/>
                    <a:pt x="8" y="24"/>
                  </a:cubicBezTo>
                  <a:cubicBezTo>
                    <a:pt x="5" y="24"/>
                    <a:pt x="5" y="22"/>
                    <a:pt x="5" y="1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1" y="5"/>
                    <a:pt x="11" y="6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3"/>
                    <a:pt x="14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1" y="28"/>
                    <a:pt x="7" y="28"/>
                  </a:cubicBezTo>
                  <a:cubicBezTo>
                    <a:pt x="9" y="28"/>
                    <a:pt x="11" y="27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3" y="28"/>
                    <a:pt x="14" y="28"/>
                  </a:cubicBezTo>
                  <a:cubicBezTo>
                    <a:pt x="15" y="28"/>
                    <a:pt x="16" y="27"/>
                    <a:pt x="16" y="26"/>
                  </a:cubicBezTo>
                  <a:lnTo>
                    <a:pt x="16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89AEE03B-F566-4D9C-91CA-D9DE781810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812"/>
              <a:ext cx="821" cy="111"/>
            </a:xfrm>
            <a:custGeom>
              <a:avLst/>
              <a:gdLst>
                <a:gd name="T0" fmla="*/ 202 w 208"/>
                <a:gd name="T1" fmla="*/ 13 h 28"/>
                <a:gd name="T2" fmla="*/ 204 w 208"/>
                <a:gd name="T3" fmla="*/ 17 h 28"/>
                <a:gd name="T4" fmla="*/ 197 w 208"/>
                <a:gd name="T5" fmla="*/ 15 h 28"/>
                <a:gd name="T6" fmla="*/ 203 w 208"/>
                <a:gd name="T7" fmla="*/ 6 h 28"/>
                <a:gd name="T8" fmla="*/ 201 w 208"/>
                <a:gd name="T9" fmla="*/ 0 h 28"/>
                <a:gd name="T10" fmla="*/ 199 w 208"/>
                <a:gd name="T11" fmla="*/ 28 h 28"/>
                <a:gd name="T12" fmla="*/ 205 w 208"/>
                <a:gd name="T13" fmla="*/ 26 h 28"/>
                <a:gd name="T14" fmla="*/ 208 w 208"/>
                <a:gd name="T15" fmla="*/ 15 h 28"/>
                <a:gd name="T16" fmla="*/ 173 w 208"/>
                <a:gd name="T17" fmla="*/ 25 h 28"/>
                <a:gd name="T18" fmla="*/ 179 w 208"/>
                <a:gd name="T19" fmla="*/ 26 h 28"/>
                <a:gd name="T20" fmla="*/ 185 w 208"/>
                <a:gd name="T21" fmla="*/ 3 h 28"/>
                <a:gd name="T22" fmla="*/ 180 w 208"/>
                <a:gd name="T23" fmla="*/ 17 h 28"/>
                <a:gd name="T24" fmla="*/ 170 w 208"/>
                <a:gd name="T25" fmla="*/ 0 h 28"/>
                <a:gd name="T26" fmla="*/ 154 w 208"/>
                <a:gd name="T27" fmla="*/ 25 h 28"/>
                <a:gd name="T28" fmla="*/ 160 w 208"/>
                <a:gd name="T29" fmla="*/ 3 h 28"/>
                <a:gd name="T30" fmla="*/ 154 w 208"/>
                <a:gd name="T31" fmla="*/ 25 h 28"/>
                <a:gd name="T32" fmla="*/ 134 w 208"/>
                <a:gd name="T33" fmla="*/ 5 h 28"/>
                <a:gd name="T34" fmla="*/ 140 w 208"/>
                <a:gd name="T35" fmla="*/ 28 h 28"/>
                <a:gd name="T36" fmla="*/ 147 w 208"/>
                <a:gd name="T37" fmla="*/ 5 h 28"/>
                <a:gd name="T38" fmla="*/ 134 w 208"/>
                <a:gd name="T39" fmla="*/ 1 h 28"/>
                <a:gd name="T40" fmla="*/ 120 w 208"/>
                <a:gd name="T41" fmla="*/ 0 h 28"/>
                <a:gd name="T42" fmla="*/ 120 w 208"/>
                <a:gd name="T43" fmla="*/ 28 h 28"/>
                <a:gd name="T44" fmla="*/ 130 w 208"/>
                <a:gd name="T45" fmla="*/ 23 h 28"/>
                <a:gd name="T46" fmla="*/ 101 w 208"/>
                <a:gd name="T47" fmla="*/ 28 h 28"/>
                <a:gd name="T48" fmla="*/ 107 w 208"/>
                <a:gd name="T49" fmla="*/ 0 h 28"/>
                <a:gd name="T50" fmla="*/ 101 w 208"/>
                <a:gd name="T51" fmla="*/ 24 h 28"/>
                <a:gd name="T52" fmla="*/ 96 w 208"/>
                <a:gd name="T53" fmla="*/ 0 h 28"/>
                <a:gd name="T54" fmla="*/ 79 w 208"/>
                <a:gd name="T55" fmla="*/ 17 h 28"/>
                <a:gd name="T56" fmla="*/ 75 w 208"/>
                <a:gd name="T57" fmla="*/ 21 h 28"/>
                <a:gd name="T58" fmla="*/ 78 w 208"/>
                <a:gd name="T59" fmla="*/ 28 h 28"/>
                <a:gd name="T60" fmla="*/ 78 w 208"/>
                <a:gd name="T61" fmla="*/ 11 h 28"/>
                <a:gd name="T62" fmla="*/ 81 w 208"/>
                <a:gd name="T63" fmla="*/ 6 h 28"/>
                <a:gd name="T64" fmla="*/ 78 w 208"/>
                <a:gd name="T65" fmla="*/ 0 h 28"/>
                <a:gd name="T66" fmla="*/ 79 w 208"/>
                <a:gd name="T67" fmla="*/ 17 h 28"/>
                <a:gd name="T68" fmla="*/ 51 w 208"/>
                <a:gd name="T69" fmla="*/ 25 h 28"/>
                <a:gd name="T70" fmla="*/ 57 w 208"/>
                <a:gd name="T71" fmla="*/ 26 h 28"/>
                <a:gd name="T72" fmla="*/ 63 w 208"/>
                <a:gd name="T73" fmla="*/ 3 h 28"/>
                <a:gd name="T74" fmla="*/ 58 w 208"/>
                <a:gd name="T75" fmla="*/ 17 h 28"/>
                <a:gd name="T76" fmla="*/ 49 w 208"/>
                <a:gd name="T77" fmla="*/ 0 h 28"/>
                <a:gd name="T78" fmla="*/ 27 w 208"/>
                <a:gd name="T79" fmla="*/ 11 h 28"/>
                <a:gd name="T80" fmla="*/ 33 w 208"/>
                <a:gd name="T81" fmla="*/ 17 h 28"/>
                <a:gd name="T82" fmla="*/ 27 w 208"/>
                <a:gd name="T83" fmla="*/ 11 h 28"/>
                <a:gd name="T84" fmla="*/ 39 w 208"/>
                <a:gd name="T85" fmla="*/ 17 h 28"/>
                <a:gd name="T86" fmla="*/ 22 w 208"/>
                <a:gd name="T87" fmla="*/ 11 h 28"/>
                <a:gd name="T88" fmla="*/ 8 w 208"/>
                <a:gd name="T89" fmla="*/ 28 h 28"/>
                <a:gd name="T90" fmla="*/ 11 w 208"/>
                <a:gd name="T91" fmla="*/ 22 h 28"/>
                <a:gd name="T92" fmla="*/ 5 w 208"/>
                <a:gd name="T93" fmla="*/ 13 h 28"/>
                <a:gd name="T94" fmla="*/ 13 w 208"/>
                <a:gd name="T95" fmla="*/ 10 h 28"/>
                <a:gd name="T96" fmla="*/ 0 w 208"/>
                <a:gd name="T97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8" h="28">
                  <a:moveTo>
                    <a:pt x="208" y="15"/>
                  </a:moveTo>
                  <a:cubicBezTo>
                    <a:pt x="208" y="14"/>
                    <a:pt x="208" y="13"/>
                    <a:pt x="206" y="13"/>
                  </a:cubicBezTo>
                  <a:cubicBezTo>
                    <a:pt x="202" y="13"/>
                    <a:pt x="202" y="13"/>
                    <a:pt x="202" y="13"/>
                  </a:cubicBezTo>
                  <a:cubicBezTo>
                    <a:pt x="200" y="13"/>
                    <a:pt x="200" y="13"/>
                    <a:pt x="200" y="15"/>
                  </a:cubicBezTo>
                  <a:cubicBezTo>
                    <a:pt x="200" y="16"/>
                    <a:pt x="200" y="17"/>
                    <a:pt x="202" y="17"/>
                  </a:cubicBezTo>
                  <a:cubicBezTo>
                    <a:pt x="204" y="17"/>
                    <a:pt x="204" y="17"/>
                    <a:pt x="204" y="17"/>
                  </a:cubicBezTo>
                  <a:cubicBezTo>
                    <a:pt x="204" y="19"/>
                    <a:pt x="204" y="19"/>
                    <a:pt x="204" y="19"/>
                  </a:cubicBezTo>
                  <a:cubicBezTo>
                    <a:pt x="204" y="22"/>
                    <a:pt x="203" y="24"/>
                    <a:pt x="201" y="24"/>
                  </a:cubicBezTo>
                  <a:cubicBezTo>
                    <a:pt x="198" y="24"/>
                    <a:pt x="197" y="22"/>
                    <a:pt x="197" y="15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5"/>
                    <a:pt x="199" y="4"/>
                    <a:pt x="201" y="4"/>
                  </a:cubicBezTo>
                  <a:cubicBezTo>
                    <a:pt x="203" y="4"/>
                    <a:pt x="203" y="5"/>
                    <a:pt x="203" y="6"/>
                  </a:cubicBezTo>
                  <a:cubicBezTo>
                    <a:pt x="204" y="9"/>
                    <a:pt x="204" y="10"/>
                    <a:pt x="206" y="10"/>
                  </a:cubicBezTo>
                  <a:cubicBezTo>
                    <a:pt x="208" y="10"/>
                    <a:pt x="208" y="8"/>
                    <a:pt x="208" y="7"/>
                  </a:cubicBezTo>
                  <a:cubicBezTo>
                    <a:pt x="208" y="3"/>
                    <a:pt x="206" y="0"/>
                    <a:pt x="201" y="0"/>
                  </a:cubicBezTo>
                  <a:cubicBezTo>
                    <a:pt x="195" y="0"/>
                    <a:pt x="192" y="3"/>
                    <a:pt x="192" y="12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23"/>
                    <a:pt x="194" y="28"/>
                    <a:pt x="199" y="28"/>
                  </a:cubicBezTo>
                  <a:cubicBezTo>
                    <a:pt x="202" y="28"/>
                    <a:pt x="203" y="27"/>
                    <a:pt x="204" y="25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6"/>
                    <a:pt x="205" y="26"/>
                    <a:pt x="205" y="26"/>
                  </a:cubicBezTo>
                  <a:cubicBezTo>
                    <a:pt x="205" y="27"/>
                    <a:pt x="205" y="28"/>
                    <a:pt x="207" y="28"/>
                  </a:cubicBezTo>
                  <a:cubicBezTo>
                    <a:pt x="208" y="28"/>
                    <a:pt x="208" y="27"/>
                    <a:pt x="208" y="26"/>
                  </a:cubicBezTo>
                  <a:lnTo>
                    <a:pt x="208" y="15"/>
                  </a:lnTo>
                  <a:close/>
                  <a:moveTo>
                    <a:pt x="168" y="25"/>
                  </a:moveTo>
                  <a:cubicBezTo>
                    <a:pt x="168" y="27"/>
                    <a:pt x="169" y="28"/>
                    <a:pt x="170" y="28"/>
                  </a:cubicBezTo>
                  <a:cubicBezTo>
                    <a:pt x="172" y="28"/>
                    <a:pt x="173" y="27"/>
                    <a:pt x="173" y="25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9" y="26"/>
                    <a:pt x="179" y="26"/>
                    <a:pt x="179" y="26"/>
                  </a:cubicBezTo>
                  <a:cubicBezTo>
                    <a:pt x="180" y="28"/>
                    <a:pt x="180" y="28"/>
                    <a:pt x="182" y="28"/>
                  </a:cubicBezTo>
                  <a:cubicBezTo>
                    <a:pt x="184" y="28"/>
                    <a:pt x="185" y="27"/>
                    <a:pt x="185" y="25"/>
                  </a:cubicBezTo>
                  <a:cubicBezTo>
                    <a:pt x="185" y="3"/>
                    <a:pt x="185" y="3"/>
                    <a:pt x="185" y="3"/>
                  </a:cubicBezTo>
                  <a:cubicBezTo>
                    <a:pt x="185" y="1"/>
                    <a:pt x="184" y="0"/>
                    <a:pt x="182" y="0"/>
                  </a:cubicBezTo>
                  <a:cubicBezTo>
                    <a:pt x="181" y="0"/>
                    <a:pt x="180" y="1"/>
                    <a:pt x="180" y="3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3" y="1"/>
                    <a:pt x="172" y="0"/>
                    <a:pt x="170" y="0"/>
                  </a:cubicBezTo>
                  <a:cubicBezTo>
                    <a:pt x="169" y="0"/>
                    <a:pt x="168" y="1"/>
                    <a:pt x="168" y="3"/>
                  </a:cubicBezTo>
                  <a:lnTo>
                    <a:pt x="168" y="25"/>
                  </a:lnTo>
                  <a:close/>
                  <a:moveTo>
                    <a:pt x="154" y="25"/>
                  </a:moveTo>
                  <a:cubicBezTo>
                    <a:pt x="154" y="27"/>
                    <a:pt x="156" y="28"/>
                    <a:pt x="157" y="28"/>
                  </a:cubicBezTo>
                  <a:cubicBezTo>
                    <a:pt x="158" y="28"/>
                    <a:pt x="160" y="27"/>
                    <a:pt x="160" y="25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1"/>
                    <a:pt x="158" y="0"/>
                    <a:pt x="157" y="0"/>
                  </a:cubicBezTo>
                  <a:cubicBezTo>
                    <a:pt x="156" y="0"/>
                    <a:pt x="154" y="1"/>
                    <a:pt x="154" y="3"/>
                  </a:cubicBezTo>
                  <a:lnTo>
                    <a:pt x="154" y="25"/>
                  </a:lnTo>
                  <a:close/>
                  <a:moveTo>
                    <a:pt x="134" y="1"/>
                  </a:moveTo>
                  <a:cubicBezTo>
                    <a:pt x="132" y="1"/>
                    <a:pt x="131" y="2"/>
                    <a:pt x="131" y="3"/>
                  </a:cubicBezTo>
                  <a:cubicBezTo>
                    <a:pt x="131" y="4"/>
                    <a:pt x="132" y="5"/>
                    <a:pt x="134" y="5"/>
                  </a:cubicBezTo>
                  <a:cubicBezTo>
                    <a:pt x="138" y="5"/>
                    <a:pt x="138" y="5"/>
                    <a:pt x="138" y="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7"/>
                    <a:pt x="139" y="28"/>
                    <a:pt x="140" y="28"/>
                  </a:cubicBezTo>
                  <a:cubicBezTo>
                    <a:pt x="142" y="28"/>
                    <a:pt x="143" y="27"/>
                    <a:pt x="143" y="2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9" y="5"/>
                    <a:pt x="149" y="4"/>
                    <a:pt x="149" y="3"/>
                  </a:cubicBezTo>
                  <a:cubicBezTo>
                    <a:pt x="149" y="2"/>
                    <a:pt x="149" y="1"/>
                    <a:pt x="147" y="1"/>
                  </a:cubicBezTo>
                  <a:lnTo>
                    <a:pt x="134" y="1"/>
                  </a:lnTo>
                  <a:close/>
                  <a:moveTo>
                    <a:pt x="122" y="23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22" y="1"/>
                    <a:pt x="121" y="0"/>
                    <a:pt x="120" y="0"/>
                  </a:cubicBezTo>
                  <a:cubicBezTo>
                    <a:pt x="119" y="0"/>
                    <a:pt x="117" y="1"/>
                    <a:pt x="117" y="3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27"/>
                    <a:pt x="118" y="28"/>
                    <a:pt x="12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2" y="28"/>
                    <a:pt x="132" y="27"/>
                    <a:pt x="132" y="25"/>
                  </a:cubicBezTo>
                  <a:cubicBezTo>
                    <a:pt x="132" y="24"/>
                    <a:pt x="132" y="23"/>
                    <a:pt x="130" y="23"/>
                  </a:cubicBezTo>
                  <a:lnTo>
                    <a:pt x="122" y="23"/>
                  </a:lnTo>
                  <a:close/>
                  <a:moveTo>
                    <a:pt x="93" y="20"/>
                  </a:moveTo>
                  <a:cubicBezTo>
                    <a:pt x="93" y="25"/>
                    <a:pt x="96" y="28"/>
                    <a:pt x="101" y="28"/>
                  </a:cubicBezTo>
                  <a:cubicBezTo>
                    <a:pt x="107" y="28"/>
                    <a:pt x="110" y="25"/>
                    <a:pt x="110" y="20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0" y="1"/>
                    <a:pt x="108" y="0"/>
                    <a:pt x="107" y="0"/>
                  </a:cubicBezTo>
                  <a:cubicBezTo>
                    <a:pt x="106" y="0"/>
                    <a:pt x="105" y="1"/>
                    <a:pt x="105" y="3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5" y="23"/>
                    <a:pt x="103" y="24"/>
                    <a:pt x="101" y="24"/>
                  </a:cubicBezTo>
                  <a:cubicBezTo>
                    <a:pt x="100" y="24"/>
                    <a:pt x="98" y="23"/>
                    <a:pt x="98" y="2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8" y="1"/>
                    <a:pt x="97" y="0"/>
                    <a:pt x="96" y="0"/>
                  </a:cubicBezTo>
                  <a:cubicBezTo>
                    <a:pt x="94" y="0"/>
                    <a:pt x="93" y="1"/>
                    <a:pt x="93" y="3"/>
                  </a:cubicBezTo>
                  <a:lnTo>
                    <a:pt x="93" y="20"/>
                  </a:lnTo>
                  <a:close/>
                  <a:moveTo>
                    <a:pt x="79" y="17"/>
                  </a:moveTo>
                  <a:cubicBezTo>
                    <a:pt x="81" y="18"/>
                    <a:pt x="81" y="19"/>
                    <a:pt x="81" y="21"/>
                  </a:cubicBezTo>
                  <a:cubicBezTo>
                    <a:pt x="81" y="23"/>
                    <a:pt x="80" y="24"/>
                    <a:pt x="78" y="24"/>
                  </a:cubicBezTo>
                  <a:cubicBezTo>
                    <a:pt x="76" y="24"/>
                    <a:pt x="75" y="23"/>
                    <a:pt x="75" y="21"/>
                  </a:cubicBezTo>
                  <a:cubicBezTo>
                    <a:pt x="75" y="19"/>
                    <a:pt x="74" y="18"/>
                    <a:pt x="73" y="18"/>
                  </a:cubicBezTo>
                  <a:cubicBezTo>
                    <a:pt x="71" y="18"/>
                    <a:pt x="70" y="19"/>
                    <a:pt x="70" y="21"/>
                  </a:cubicBezTo>
                  <a:cubicBezTo>
                    <a:pt x="70" y="22"/>
                    <a:pt x="71" y="28"/>
                    <a:pt x="78" y="28"/>
                  </a:cubicBezTo>
                  <a:cubicBezTo>
                    <a:pt x="84" y="28"/>
                    <a:pt x="86" y="25"/>
                    <a:pt x="86" y="21"/>
                  </a:cubicBezTo>
                  <a:cubicBezTo>
                    <a:pt x="86" y="17"/>
                    <a:pt x="85" y="15"/>
                    <a:pt x="82" y="13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6" y="9"/>
                    <a:pt x="76" y="8"/>
                    <a:pt x="76" y="7"/>
                  </a:cubicBezTo>
                  <a:cubicBezTo>
                    <a:pt x="76" y="5"/>
                    <a:pt x="77" y="4"/>
                    <a:pt x="78" y="4"/>
                  </a:cubicBezTo>
                  <a:cubicBezTo>
                    <a:pt x="80" y="4"/>
                    <a:pt x="81" y="5"/>
                    <a:pt x="81" y="6"/>
                  </a:cubicBezTo>
                  <a:cubicBezTo>
                    <a:pt x="81" y="8"/>
                    <a:pt x="81" y="9"/>
                    <a:pt x="83" y="9"/>
                  </a:cubicBezTo>
                  <a:cubicBezTo>
                    <a:pt x="85" y="9"/>
                    <a:pt x="86" y="8"/>
                    <a:pt x="86" y="7"/>
                  </a:cubicBezTo>
                  <a:cubicBezTo>
                    <a:pt x="86" y="4"/>
                    <a:pt x="84" y="0"/>
                    <a:pt x="78" y="0"/>
                  </a:cubicBezTo>
                  <a:cubicBezTo>
                    <a:pt x="74" y="0"/>
                    <a:pt x="71" y="2"/>
                    <a:pt x="71" y="7"/>
                  </a:cubicBezTo>
                  <a:cubicBezTo>
                    <a:pt x="71" y="10"/>
                    <a:pt x="71" y="12"/>
                    <a:pt x="74" y="14"/>
                  </a:cubicBezTo>
                  <a:lnTo>
                    <a:pt x="79" y="17"/>
                  </a:lnTo>
                  <a:close/>
                  <a:moveTo>
                    <a:pt x="46" y="25"/>
                  </a:moveTo>
                  <a:cubicBezTo>
                    <a:pt x="46" y="27"/>
                    <a:pt x="47" y="28"/>
                    <a:pt x="48" y="28"/>
                  </a:cubicBezTo>
                  <a:cubicBezTo>
                    <a:pt x="50" y="28"/>
                    <a:pt x="51" y="27"/>
                    <a:pt x="51" y="25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8"/>
                    <a:pt x="59" y="28"/>
                    <a:pt x="61" y="28"/>
                  </a:cubicBezTo>
                  <a:cubicBezTo>
                    <a:pt x="62" y="28"/>
                    <a:pt x="63" y="27"/>
                    <a:pt x="63" y="2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1"/>
                    <a:pt x="62" y="0"/>
                    <a:pt x="61" y="0"/>
                  </a:cubicBezTo>
                  <a:cubicBezTo>
                    <a:pt x="59" y="0"/>
                    <a:pt x="58" y="1"/>
                    <a:pt x="58" y="3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1" y="1"/>
                    <a:pt x="50" y="0"/>
                    <a:pt x="49" y="0"/>
                  </a:cubicBezTo>
                  <a:cubicBezTo>
                    <a:pt x="47" y="0"/>
                    <a:pt x="46" y="1"/>
                    <a:pt x="46" y="3"/>
                  </a:cubicBezTo>
                  <a:lnTo>
                    <a:pt x="46" y="25"/>
                  </a:lnTo>
                  <a:close/>
                  <a:moveTo>
                    <a:pt x="27" y="11"/>
                  </a:moveTo>
                  <a:cubicBezTo>
                    <a:pt x="27" y="5"/>
                    <a:pt x="28" y="4"/>
                    <a:pt x="30" y="4"/>
                  </a:cubicBezTo>
                  <a:cubicBezTo>
                    <a:pt x="32" y="4"/>
                    <a:pt x="33" y="5"/>
                    <a:pt x="33" y="11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23"/>
                    <a:pt x="32" y="24"/>
                    <a:pt x="30" y="24"/>
                  </a:cubicBezTo>
                  <a:cubicBezTo>
                    <a:pt x="28" y="24"/>
                    <a:pt x="27" y="23"/>
                    <a:pt x="27" y="17"/>
                  </a:cubicBezTo>
                  <a:lnTo>
                    <a:pt x="27" y="11"/>
                  </a:lnTo>
                  <a:close/>
                  <a:moveTo>
                    <a:pt x="22" y="17"/>
                  </a:moveTo>
                  <a:cubicBezTo>
                    <a:pt x="22" y="27"/>
                    <a:pt x="26" y="28"/>
                    <a:pt x="30" y="28"/>
                  </a:cubicBezTo>
                  <a:cubicBezTo>
                    <a:pt x="35" y="28"/>
                    <a:pt x="39" y="27"/>
                    <a:pt x="39" y="17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"/>
                    <a:pt x="35" y="0"/>
                    <a:pt x="30" y="0"/>
                  </a:cubicBezTo>
                  <a:cubicBezTo>
                    <a:pt x="26" y="0"/>
                    <a:pt x="22" y="1"/>
                    <a:pt x="22" y="11"/>
                  </a:cubicBezTo>
                  <a:lnTo>
                    <a:pt x="22" y="17"/>
                  </a:lnTo>
                  <a:close/>
                  <a:moveTo>
                    <a:pt x="0" y="17"/>
                  </a:moveTo>
                  <a:cubicBezTo>
                    <a:pt x="0" y="22"/>
                    <a:pt x="0" y="28"/>
                    <a:pt x="8" y="28"/>
                  </a:cubicBezTo>
                  <a:cubicBezTo>
                    <a:pt x="13" y="28"/>
                    <a:pt x="16" y="26"/>
                    <a:pt x="16" y="20"/>
                  </a:cubicBezTo>
                  <a:cubicBezTo>
                    <a:pt x="16" y="19"/>
                    <a:pt x="15" y="17"/>
                    <a:pt x="13" y="17"/>
                  </a:cubicBezTo>
                  <a:cubicBezTo>
                    <a:pt x="11" y="17"/>
                    <a:pt x="11" y="19"/>
                    <a:pt x="11" y="22"/>
                  </a:cubicBezTo>
                  <a:cubicBezTo>
                    <a:pt x="11" y="23"/>
                    <a:pt x="9" y="24"/>
                    <a:pt x="8" y="24"/>
                  </a:cubicBezTo>
                  <a:cubicBezTo>
                    <a:pt x="5" y="24"/>
                    <a:pt x="5" y="21"/>
                    <a:pt x="5" y="1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0" y="5"/>
                    <a:pt x="11" y="7"/>
                  </a:cubicBezTo>
                  <a:cubicBezTo>
                    <a:pt x="11" y="9"/>
                    <a:pt x="11" y="10"/>
                    <a:pt x="13" y="10"/>
                  </a:cubicBezTo>
                  <a:cubicBezTo>
                    <a:pt x="15" y="10"/>
                    <a:pt x="16" y="9"/>
                    <a:pt x="16" y="7"/>
                  </a:cubicBezTo>
                  <a:cubicBezTo>
                    <a:pt x="16" y="3"/>
                    <a:pt x="13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30498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short title end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>
            <a:extLst>
              <a:ext uri="{FF2B5EF4-FFF2-40B4-BE49-F238E27FC236}">
                <a16:creationId xmlns:a16="http://schemas.microsoft.com/office/drawing/2014/main" id="{B12FA7B1-10BB-4B69-89F5-25BA562DD1CC}"/>
              </a:ext>
            </a:extLst>
          </p:cNvPr>
          <p:cNvSpPr/>
          <p:nvPr userDrawn="1"/>
        </p:nvSpPr>
        <p:spPr>
          <a:xfrm>
            <a:off x="7672199" y="1634680"/>
            <a:ext cx="3575304" cy="3575304"/>
          </a:xfrm>
          <a:prstGeom prst="ellipse">
            <a:avLst/>
          </a:prstGeom>
          <a:solidFill>
            <a:schemeClr val="tx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DDD1AB6-6BB1-4CEB-8E86-3609AA0D53B9}"/>
              </a:ext>
            </a:extLst>
          </p:cNvPr>
          <p:cNvCxnSpPr>
            <a:cxnSpLocks/>
          </p:cNvCxnSpPr>
          <p:nvPr userDrawn="1"/>
        </p:nvCxnSpPr>
        <p:spPr>
          <a:xfrm>
            <a:off x="2732149" y="74295"/>
            <a:ext cx="0" cy="1560385"/>
          </a:xfrm>
          <a:prstGeom prst="line">
            <a:avLst/>
          </a:prstGeom>
          <a:ln w="762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4">
            <a:extLst>
              <a:ext uri="{FF2B5EF4-FFF2-40B4-BE49-F238E27FC236}">
                <a16:creationId xmlns:a16="http://schemas.microsoft.com/office/drawing/2014/main" id="{2D474911-89A4-44BA-AA6A-841C12D9D3C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2500" y="1709928"/>
            <a:ext cx="4800600" cy="3571080"/>
            <a:chOff x="3770" y="1616"/>
            <a:chExt cx="1757" cy="1307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A1D0C70E-7EA2-45D4-8D8B-1E367B4E89C1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770" y="1616"/>
              <a:ext cx="1757" cy="1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B75F960-1AE7-4019-A389-89A4551688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0" y="1616"/>
              <a:ext cx="651" cy="1307"/>
            </a:xfrm>
            <a:custGeom>
              <a:avLst/>
              <a:gdLst>
                <a:gd name="T0" fmla="*/ 156 w 165"/>
                <a:gd name="T1" fmla="*/ 232 h 331"/>
                <a:gd name="T2" fmla="*/ 145 w 165"/>
                <a:gd name="T3" fmla="*/ 243 h 331"/>
                <a:gd name="T4" fmla="*/ 140 w 165"/>
                <a:gd name="T5" fmla="*/ 243 h 331"/>
                <a:gd name="T6" fmla="*/ 129 w 165"/>
                <a:gd name="T7" fmla="*/ 232 h 331"/>
                <a:gd name="T8" fmla="*/ 129 w 165"/>
                <a:gd name="T9" fmla="*/ 88 h 331"/>
                <a:gd name="T10" fmla="*/ 145 w 165"/>
                <a:gd name="T11" fmla="*/ 88 h 331"/>
                <a:gd name="T12" fmla="*/ 156 w 165"/>
                <a:gd name="T13" fmla="*/ 99 h 331"/>
                <a:gd name="T14" fmla="*/ 156 w 165"/>
                <a:gd name="T15" fmla="*/ 232 h 331"/>
                <a:gd name="T16" fmla="*/ 113 w 165"/>
                <a:gd name="T17" fmla="*/ 232 h 331"/>
                <a:gd name="T18" fmla="*/ 102 w 165"/>
                <a:gd name="T19" fmla="*/ 243 h 331"/>
                <a:gd name="T20" fmla="*/ 96 w 165"/>
                <a:gd name="T21" fmla="*/ 243 h 331"/>
                <a:gd name="T22" fmla="*/ 85 w 165"/>
                <a:gd name="T23" fmla="*/ 232 h 331"/>
                <a:gd name="T24" fmla="*/ 85 w 165"/>
                <a:gd name="T25" fmla="*/ 88 h 331"/>
                <a:gd name="T26" fmla="*/ 102 w 165"/>
                <a:gd name="T27" fmla="*/ 88 h 331"/>
                <a:gd name="T28" fmla="*/ 113 w 165"/>
                <a:gd name="T29" fmla="*/ 99 h 331"/>
                <a:gd name="T30" fmla="*/ 113 w 165"/>
                <a:gd name="T31" fmla="*/ 232 h 331"/>
                <a:gd name="T32" fmla="*/ 69 w 165"/>
                <a:gd name="T33" fmla="*/ 232 h 331"/>
                <a:gd name="T34" fmla="*/ 58 w 165"/>
                <a:gd name="T35" fmla="*/ 243 h 331"/>
                <a:gd name="T36" fmla="*/ 53 w 165"/>
                <a:gd name="T37" fmla="*/ 243 h 331"/>
                <a:gd name="T38" fmla="*/ 42 w 165"/>
                <a:gd name="T39" fmla="*/ 232 h 331"/>
                <a:gd name="T40" fmla="*/ 42 w 165"/>
                <a:gd name="T41" fmla="*/ 88 h 331"/>
                <a:gd name="T42" fmla="*/ 58 w 165"/>
                <a:gd name="T43" fmla="*/ 88 h 331"/>
                <a:gd name="T44" fmla="*/ 69 w 165"/>
                <a:gd name="T45" fmla="*/ 99 h 331"/>
                <a:gd name="T46" fmla="*/ 69 w 165"/>
                <a:gd name="T47" fmla="*/ 232 h 331"/>
                <a:gd name="T48" fmla="*/ 165 w 165"/>
                <a:gd name="T49" fmla="*/ 331 h 331"/>
                <a:gd name="T50" fmla="*/ 165 w 165"/>
                <a:gd name="T51" fmla="*/ 0 h 331"/>
                <a:gd name="T52" fmla="*/ 0 w 165"/>
                <a:gd name="T53" fmla="*/ 166 h 331"/>
                <a:gd name="T54" fmla="*/ 165 w 165"/>
                <a:gd name="T55" fmla="*/ 331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5" h="331">
                  <a:moveTo>
                    <a:pt x="156" y="232"/>
                  </a:moveTo>
                  <a:cubicBezTo>
                    <a:pt x="156" y="243"/>
                    <a:pt x="145" y="243"/>
                    <a:pt x="145" y="243"/>
                  </a:cubicBezTo>
                  <a:cubicBezTo>
                    <a:pt x="140" y="243"/>
                    <a:pt x="140" y="243"/>
                    <a:pt x="140" y="243"/>
                  </a:cubicBezTo>
                  <a:cubicBezTo>
                    <a:pt x="129" y="243"/>
                    <a:pt x="129" y="232"/>
                    <a:pt x="129" y="232"/>
                  </a:cubicBezTo>
                  <a:cubicBezTo>
                    <a:pt x="129" y="88"/>
                    <a:pt x="129" y="88"/>
                    <a:pt x="129" y="88"/>
                  </a:cubicBezTo>
                  <a:cubicBezTo>
                    <a:pt x="145" y="88"/>
                    <a:pt x="145" y="88"/>
                    <a:pt x="145" y="88"/>
                  </a:cubicBezTo>
                  <a:cubicBezTo>
                    <a:pt x="156" y="88"/>
                    <a:pt x="156" y="99"/>
                    <a:pt x="156" y="99"/>
                  </a:cubicBezTo>
                  <a:lnTo>
                    <a:pt x="156" y="232"/>
                  </a:lnTo>
                  <a:close/>
                  <a:moveTo>
                    <a:pt x="113" y="232"/>
                  </a:moveTo>
                  <a:cubicBezTo>
                    <a:pt x="113" y="243"/>
                    <a:pt x="102" y="243"/>
                    <a:pt x="102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85" y="243"/>
                    <a:pt x="85" y="232"/>
                    <a:pt x="85" y="232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102" y="88"/>
                    <a:pt x="102" y="88"/>
                    <a:pt x="102" y="88"/>
                  </a:cubicBezTo>
                  <a:cubicBezTo>
                    <a:pt x="113" y="88"/>
                    <a:pt x="113" y="99"/>
                    <a:pt x="113" y="99"/>
                  </a:cubicBezTo>
                  <a:lnTo>
                    <a:pt x="113" y="232"/>
                  </a:lnTo>
                  <a:close/>
                  <a:moveTo>
                    <a:pt x="69" y="232"/>
                  </a:moveTo>
                  <a:cubicBezTo>
                    <a:pt x="69" y="243"/>
                    <a:pt x="58" y="243"/>
                    <a:pt x="58" y="243"/>
                  </a:cubicBezTo>
                  <a:cubicBezTo>
                    <a:pt x="53" y="243"/>
                    <a:pt x="53" y="243"/>
                    <a:pt x="53" y="243"/>
                  </a:cubicBezTo>
                  <a:cubicBezTo>
                    <a:pt x="42" y="243"/>
                    <a:pt x="42" y="232"/>
                    <a:pt x="42" y="232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69" y="88"/>
                    <a:pt x="69" y="99"/>
                    <a:pt x="69" y="99"/>
                  </a:cubicBezTo>
                  <a:lnTo>
                    <a:pt x="69" y="232"/>
                  </a:lnTo>
                  <a:close/>
                  <a:moveTo>
                    <a:pt x="165" y="331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74" y="0"/>
                    <a:pt x="0" y="74"/>
                    <a:pt x="0" y="166"/>
                  </a:cubicBezTo>
                  <a:cubicBezTo>
                    <a:pt x="0" y="257"/>
                    <a:pt x="74" y="331"/>
                    <a:pt x="165" y="33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8D6D04E2-A9F9-49F1-B3D3-D6943F278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65" y="1963"/>
              <a:ext cx="106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982E558-5B26-4032-994A-57953DF25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5" y="1963"/>
              <a:ext cx="110" cy="612"/>
            </a:xfrm>
            <a:custGeom>
              <a:avLst/>
              <a:gdLst>
                <a:gd name="T0" fmla="*/ 0 w 28"/>
                <a:gd name="T1" fmla="*/ 0 h 155"/>
                <a:gd name="T2" fmla="*/ 0 w 28"/>
                <a:gd name="T3" fmla="*/ 144 h 155"/>
                <a:gd name="T4" fmla="*/ 11 w 28"/>
                <a:gd name="T5" fmla="*/ 155 h 155"/>
                <a:gd name="T6" fmla="*/ 17 w 28"/>
                <a:gd name="T7" fmla="*/ 155 h 155"/>
                <a:gd name="T8" fmla="*/ 28 w 28"/>
                <a:gd name="T9" fmla="*/ 144 h 155"/>
                <a:gd name="T10" fmla="*/ 28 w 28"/>
                <a:gd name="T11" fmla="*/ 11 h 155"/>
                <a:gd name="T12" fmla="*/ 17 w 28"/>
                <a:gd name="T13" fmla="*/ 0 h 155"/>
                <a:gd name="T14" fmla="*/ 0 w 28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155"/>
                    <a:pt x="28" y="155"/>
                    <a:pt x="28" y="144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0"/>
                    <a:pt x="1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266AB821-8537-4664-B165-7F53C5923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08" y="1963"/>
              <a:ext cx="107" cy="612"/>
            </a:xfrm>
            <a:custGeom>
              <a:avLst/>
              <a:gdLst>
                <a:gd name="T0" fmla="*/ 0 w 27"/>
                <a:gd name="T1" fmla="*/ 0 h 155"/>
                <a:gd name="T2" fmla="*/ 0 w 27"/>
                <a:gd name="T3" fmla="*/ 144 h 155"/>
                <a:gd name="T4" fmla="*/ 11 w 27"/>
                <a:gd name="T5" fmla="*/ 155 h 155"/>
                <a:gd name="T6" fmla="*/ 16 w 27"/>
                <a:gd name="T7" fmla="*/ 155 h 155"/>
                <a:gd name="T8" fmla="*/ 27 w 27"/>
                <a:gd name="T9" fmla="*/ 144 h 155"/>
                <a:gd name="T10" fmla="*/ 27 w 27"/>
                <a:gd name="T11" fmla="*/ 11 h 155"/>
                <a:gd name="T12" fmla="*/ 16 w 27"/>
                <a:gd name="T13" fmla="*/ 0 h 155"/>
                <a:gd name="T14" fmla="*/ 0 w 27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55"/>
                    <a:pt x="11" y="155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27" y="155"/>
                    <a:pt x="27" y="144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0"/>
                    <a:pt x="1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966A0363-71C8-41E5-8830-A784F4DA84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658"/>
              <a:ext cx="1066" cy="111"/>
            </a:xfrm>
            <a:custGeom>
              <a:avLst/>
              <a:gdLst>
                <a:gd name="T0" fmla="*/ 270 w 270"/>
                <a:gd name="T1" fmla="*/ 26 h 28"/>
                <a:gd name="T2" fmla="*/ 265 w 270"/>
                <a:gd name="T3" fmla="*/ 11 h 28"/>
                <a:gd name="T4" fmla="*/ 254 w 270"/>
                <a:gd name="T5" fmla="*/ 3 h 28"/>
                <a:gd name="T6" fmla="*/ 259 w 270"/>
                <a:gd name="T7" fmla="*/ 15 h 28"/>
                <a:gd name="T8" fmla="*/ 233 w 270"/>
                <a:gd name="T9" fmla="*/ 5 h 28"/>
                <a:gd name="T10" fmla="*/ 242 w 270"/>
                <a:gd name="T11" fmla="*/ 26 h 28"/>
                <a:gd name="T12" fmla="*/ 246 w 270"/>
                <a:gd name="T13" fmla="*/ 1 h 28"/>
                <a:gd name="T14" fmla="*/ 219 w 270"/>
                <a:gd name="T15" fmla="*/ 0 h 28"/>
                <a:gd name="T16" fmla="*/ 229 w 270"/>
                <a:gd name="T17" fmla="*/ 28 h 28"/>
                <a:gd name="T18" fmla="*/ 199 w 270"/>
                <a:gd name="T19" fmla="*/ 17 h 28"/>
                <a:gd name="T20" fmla="*/ 199 w 270"/>
                <a:gd name="T21" fmla="*/ 17 h 28"/>
                <a:gd name="T22" fmla="*/ 211 w 270"/>
                <a:gd name="T23" fmla="*/ 26 h 28"/>
                <a:gd name="T24" fmla="*/ 197 w 270"/>
                <a:gd name="T25" fmla="*/ 4 h 28"/>
                <a:gd name="T26" fmla="*/ 197 w 270"/>
                <a:gd name="T27" fmla="*/ 26 h 28"/>
                <a:gd name="T28" fmla="*/ 183 w 270"/>
                <a:gd name="T29" fmla="*/ 16 h 28"/>
                <a:gd name="T30" fmla="*/ 176 w 270"/>
                <a:gd name="T31" fmla="*/ 5 h 28"/>
                <a:gd name="T32" fmla="*/ 174 w 270"/>
                <a:gd name="T33" fmla="*/ 1 h 28"/>
                <a:gd name="T34" fmla="*/ 184 w 270"/>
                <a:gd name="T35" fmla="*/ 28 h 28"/>
                <a:gd name="T36" fmla="*/ 176 w 270"/>
                <a:gd name="T37" fmla="*/ 16 h 28"/>
                <a:gd name="T38" fmla="*/ 163 w 270"/>
                <a:gd name="T39" fmla="*/ 26 h 28"/>
                <a:gd name="T40" fmla="*/ 158 w 270"/>
                <a:gd name="T41" fmla="*/ 11 h 28"/>
                <a:gd name="T42" fmla="*/ 147 w 270"/>
                <a:gd name="T43" fmla="*/ 3 h 28"/>
                <a:gd name="T44" fmla="*/ 152 w 270"/>
                <a:gd name="T45" fmla="*/ 15 h 28"/>
                <a:gd name="T46" fmla="*/ 115 w 270"/>
                <a:gd name="T47" fmla="*/ 0 h 28"/>
                <a:gd name="T48" fmla="*/ 125 w 270"/>
                <a:gd name="T49" fmla="*/ 28 h 28"/>
                <a:gd name="T50" fmla="*/ 94 w 270"/>
                <a:gd name="T51" fmla="*/ 17 h 28"/>
                <a:gd name="T52" fmla="*/ 94 w 270"/>
                <a:gd name="T53" fmla="*/ 17 h 28"/>
                <a:gd name="T54" fmla="*/ 106 w 270"/>
                <a:gd name="T55" fmla="*/ 26 h 28"/>
                <a:gd name="T56" fmla="*/ 93 w 270"/>
                <a:gd name="T57" fmla="*/ 4 h 28"/>
                <a:gd name="T58" fmla="*/ 93 w 270"/>
                <a:gd name="T59" fmla="*/ 26 h 28"/>
                <a:gd name="T60" fmla="*/ 74 w 270"/>
                <a:gd name="T61" fmla="*/ 4 h 28"/>
                <a:gd name="T62" fmla="*/ 71 w 270"/>
                <a:gd name="T63" fmla="*/ 4 h 28"/>
                <a:gd name="T64" fmla="*/ 74 w 270"/>
                <a:gd name="T65" fmla="*/ 24 h 28"/>
                <a:gd name="T66" fmla="*/ 69 w 270"/>
                <a:gd name="T67" fmla="*/ 28 h 28"/>
                <a:gd name="T68" fmla="*/ 81 w 270"/>
                <a:gd name="T69" fmla="*/ 8 h 28"/>
                <a:gd name="T70" fmla="*/ 66 w 270"/>
                <a:gd name="T71" fmla="*/ 25 h 28"/>
                <a:gd name="T72" fmla="*/ 54 w 270"/>
                <a:gd name="T73" fmla="*/ 17 h 28"/>
                <a:gd name="T74" fmla="*/ 42 w 270"/>
                <a:gd name="T75" fmla="*/ 17 h 28"/>
                <a:gd name="T76" fmla="*/ 51 w 270"/>
                <a:gd name="T77" fmla="*/ 0 h 28"/>
                <a:gd name="T78" fmla="*/ 28 w 270"/>
                <a:gd name="T79" fmla="*/ 3 h 28"/>
                <a:gd name="T80" fmla="*/ 26 w 270"/>
                <a:gd name="T81" fmla="*/ 28 h 28"/>
                <a:gd name="T82" fmla="*/ 28 w 270"/>
                <a:gd name="T83" fmla="*/ 23 h 28"/>
                <a:gd name="T84" fmla="*/ 7 w 270"/>
                <a:gd name="T85" fmla="*/ 15 h 28"/>
                <a:gd name="T86" fmla="*/ 8 w 270"/>
                <a:gd name="T87" fmla="*/ 24 h 28"/>
                <a:gd name="T88" fmla="*/ 11 w 270"/>
                <a:gd name="T89" fmla="*/ 6 h 28"/>
                <a:gd name="T90" fmla="*/ 0 w 270"/>
                <a:gd name="T91" fmla="*/ 12 h 28"/>
                <a:gd name="T92" fmla="*/ 12 w 270"/>
                <a:gd name="T93" fmla="*/ 25 h 28"/>
                <a:gd name="T94" fmla="*/ 16 w 270"/>
                <a:gd name="T95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0" h="28">
                  <a:moveTo>
                    <a:pt x="265" y="15"/>
                  </a:moveTo>
                  <a:cubicBezTo>
                    <a:pt x="265" y="26"/>
                    <a:pt x="265" y="26"/>
                    <a:pt x="265" y="26"/>
                  </a:cubicBezTo>
                  <a:cubicBezTo>
                    <a:pt x="265" y="27"/>
                    <a:pt x="267" y="28"/>
                    <a:pt x="268" y="28"/>
                  </a:cubicBezTo>
                  <a:cubicBezTo>
                    <a:pt x="269" y="28"/>
                    <a:pt x="270" y="27"/>
                    <a:pt x="270" y="26"/>
                  </a:cubicBezTo>
                  <a:cubicBezTo>
                    <a:pt x="270" y="3"/>
                    <a:pt x="270" y="3"/>
                    <a:pt x="270" y="3"/>
                  </a:cubicBezTo>
                  <a:cubicBezTo>
                    <a:pt x="270" y="1"/>
                    <a:pt x="269" y="0"/>
                    <a:pt x="268" y="0"/>
                  </a:cubicBezTo>
                  <a:cubicBezTo>
                    <a:pt x="267" y="0"/>
                    <a:pt x="265" y="1"/>
                    <a:pt x="265" y="3"/>
                  </a:cubicBezTo>
                  <a:cubicBezTo>
                    <a:pt x="265" y="11"/>
                    <a:pt x="265" y="11"/>
                    <a:pt x="265" y="11"/>
                  </a:cubicBezTo>
                  <a:cubicBezTo>
                    <a:pt x="259" y="11"/>
                    <a:pt x="259" y="11"/>
                    <a:pt x="259" y="11"/>
                  </a:cubicBezTo>
                  <a:cubicBezTo>
                    <a:pt x="259" y="3"/>
                    <a:pt x="259" y="3"/>
                    <a:pt x="259" y="3"/>
                  </a:cubicBezTo>
                  <a:cubicBezTo>
                    <a:pt x="259" y="1"/>
                    <a:pt x="258" y="0"/>
                    <a:pt x="256" y="0"/>
                  </a:cubicBezTo>
                  <a:cubicBezTo>
                    <a:pt x="255" y="0"/>
                    <a:pt x="254" y="1"/>
                    <a:pt x="254" y="3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54" y="27"/>
                    <a:pt x="255" y="28"/>
                    <a:pt x="256" y="28"/>
                  </a:cubicBezTo>
                  <a:cubicBezTo>
                    <a:pt x="258" y="28"/>
                    <a:pt x="259" y="27"/>
                    <a:pt x="259" y="26"/>
                  </a:cubicBezTo>
                  <a:cubicBezTo>
                    <a:pt x="259" y="15"/>
                    <a:pt x="259" y="15"/>
                    <a:pt x="259" y="15"/>
                  </a:cubicBezTo>
                  <a:lnTo>
                    <a:pt x="265" y="15"/>
                  </a:lnTo>
                  <a:close/>
                  <a:moveTo>
                    <a:pt x="233" y="1"/>
                  </a:moveTo>
                  <a:cubicBezTo>
                    <a:pt x="231" y="1"/>
                    <a:pt x="231" y="2"/>
                    <a:pt x="231" y="3"/>
                  </a:cubicBezTo>
                  <a:cubicBezTo>
                    <a:pt x="231" y="4"/>
                    <a:pt x="231" y="5"/>
                    <a:pt x="233" y="5"/>
                  </a:cubicBezTo>
                  <a:cubicBezTo>
                    <a:pt x="237" y="5"/>
                    <a:pt x="237" y="5"/>
                    <a:pt x="237" y="5"/>
                  </a:cubicBezTo>
                  <a:cubicBezTo>
                    <a:pt x="237" y="26"/>
                    <a:pt x="237" y="26"/>
                    <a:pt x="237" y="26"/>
                  </a:cubicBezTo>
                  <a:cubicBezTo>
                    <a:pt x="237" y="27"/>
                    <a:pt x="238" y="28"/>
                    <a:pt x="240" y="28"/>
                  </a:cubicBezTo>
                  <a:cubicBezTo>
                    <a:pt x="241" y="28"/>
                    <a:pt x="242" y="27"/>
                    <a:pt x="242" y="26"/>
                  </a:cubicBezTo>
                  <a:cubicBezTo>
                    <a:pt x="242" y="5"/>
                    <a:pt x="242" y="5"/>
                    <a:pt x="242" y="5"/>
                  </a:cubicBezTo>
                  <a:cubicBezTo>
                    <a:pt x="246" y="5"/>
                    <a:pt x="246" y="5"/>
                    <a:pt x="246" y="5"/>
                  </a:cubicBezTo>
                  <a:cubicBezTo>
                    <a:pt x="248" y="5"/>
                    <a:pt x="249" y="4"/>
                    <a:pt x="249" y="3"/>
                  </a:cubicBezTo>
                  <a:cubicBezTo>
                    <a:pt x="249" y="2"/>
                    <a:pt x="248" y="1"/>
                    <a:pt x="246" y="1"/>
                  </a:cubicBezTo>
                  <a:lnTo>
                    <a:pt x="233" y="1"/>
                  </a:lnTo>
                  <a:close/>
                  <a:moveTo>
                    <a:pt x="222" y="23"/>
                  </a:moveTo>
                  <a:cubicBezTo>
                    <a:pt x="222" y="3"/>
                    <a:pt x="222" y="3"/>
                    <a:pt x="222" y="3"/>
                  </a:cubicBezTo>
                  <a:cubicBezTo>
                    <a:pt x="222" y="1"/>
                    <a:pt x="221" y="0"/>
                    <a:pt x="219" y="0"/>
                  </a:cubicBezTo>
                  <a:cubicBezTo>
                    <a:pt x="218" y="0"/>
                    <a:pt x="217" y="1"/>
                    <a:pt x="217" y="3"/>
                  </a:cubicBezTo>
                  <a:cubicBezTo>
                    <a:pt x="217" y="25"/>
                    <a:pt x="217" y="25"/>
                    <a:pt x="217" y="25"/>
                  </a:cubicBezTo>
                  <a:cubicBezTo>
                    <a:pt x="217" y="27"/>
                    <a:pt x="218" y="28"/>
                    <a:pt x="220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31" y="28"/>
                    <a:pt x="232" y="27"/>
                    <a:pt x="232" y="25"/>
                  </a:cubicBezTo>
                  <a:cubicBezTo>
                    <a:pt x="232" y="24"/>
                    <a:pt x="231" y="23"/>
                    <a:pt x="229" y="23"/>
                  </a:cubicBezTo>
                  <a:lnTo>
                    <a:pt x="222" y="23"/>
                  </a:lnTo>
                  <a:close/>
                  <a:moveTo>
                    <a:pt x="199" y="17"/>
                  </a:moveTo>
                  <a:cubicBezTo>
                    <a:pt x="201" y="6"/>
                    <a:pt x="201" y="6"/>
                    <a:pt x="201" y="6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4" y="17"/>
                    <a:pt x="204" y="17"/>
                    <a:pt x="204" y="17"/>
                  </a:cubicBezTo>
                  <a:lnTo>
                    <a:pt x="199" y="17"/>
                  </a:lnTo>
                  <a:close/>
                  <a:moveTo>
                    <a:pt x="204" y="21"/>
                  </a:moveTo>
                  <a:cubicBezTo>
                    <a:pt x="205" y="25"/>
                    <a:pt x="205" y="25"/>
                    <a:pt x="205" y="25"/>
                  </a:cubicBezTo>
                  <a:cubicBezTo>
                    <a:pt x="206" y="27"/>
                    <a:pt x="206" y="28"/>
                    <a:pt x="208" y="28"/>
                  </a:cubicBezTo>
                  <a:cubicBezTo>
                    <a:pt x="209" y="28"/>
                    <a:pt x="211" y="27"/>
                    <a:pt x="211" y="26"/>
                  </a:cubicBezTo>
                  <a:cubicBezTo>
                    <a:pt x="211" y="25"/>
                    <a:pt x="210" y="25"/>
                    <a:pt x="210" y="24"/>
                  </a:cubicBezTo>
                  <a:cubicBezTo>
                    <a:pt x="206" y="4"/>
                    <a:pt x="206" y="4"/>
                    <a:pt x="206" y="4"/>
                  </a:cubicBezTo>
                  <a:cubicBezTo>
                    <a:pt x="205" y="1"/>
                    <a:pt x="204" y="0"/>
                    <a:pt x="201" y="0"/>
                  </a:cubicBezTo>
                  <a:cubicBezTo>
                    <a:pt x="199" y="0"/>
                    <a:pt x="198" y="1"/>
                    <a:pt x="197" y="4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2" y="25"/>
                    <a:pt x="192" y="25"/>
                    <a:pt x="192" y="26"/>
                  </a:cubicBezTo>
                  <a:cubicBezTo>
                    <a:pt x="192" y="27"/>
                    <a:pt x="193" y="28"/>
                    <a:pt x="195" y="28"/>
                  </a:cubicBezTo>
                  <a:cubicBezTo>
                    <a:pt x="196" y="28"/>
                    <a:pt x="197" y="27"/>
                    <a:pt x="197" y="26"/>
                  </a:cubicBezTo>
                  <a:cubicBezTo>
                    <a:pt x="198" y="21"/>
                    <a:pt x="198" y="21"/>
                    <a:pt x="198" y="21"/>
                  </a:cubicBezTo>
                  <a:lnTo>
                    <a:pt x="204" y="21"/>
                  </a:lnTo>
                  <a:close/>
                  <a:moveTo>
                    <a:pt x="176" y="16"/>
                  </a:moveTo>
                  <a:cubicBezTo>
                    <a:pt x="183" y="16"/>
                    <a:pt x="183" y="16"/>
                    <a:pt x="183" y="16"/>
                  </a:cubicBezTo>
                  <a:cubicBezTo>
                    <a:pt x="185" y="16"/>
                    <a:pt x="186" y="15"/>
                    <a:pt x="186" y="14"/>
                  </a:cubicBezTo>
                  <a:cubicBezTo>
                    <a:pt x="186" y="12"/>
                    <a:pt x="185" y="11"/>
                    <a:pt x="183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6" y="5"/>
                    <a:pt x="176" y="5"/>
                    <a:pt x="176" y="5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86" y="5"/>
                    <a:pt x="186" y="4"/>
                    <a:pt x="186" y="3"/>
                  </a:cubicBezTo>
                  <a:cubicBezTo>
                    <a:pt x="186" y="2"/>
                    <a:pt x="186" y="1"/>
                    <a:pt x="184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2" y="1"/>
                    <a:pt x="171" y="2"/>
                    <a:pt x="171" y="3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7"/>
                    <a:pt x="172" y="28"/>
                    <a:pt x="174" y="28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6" y="28"/>
                    <a:pt x="187" y="27"/>
                    <a:pt x="187" y="25"/>
                  </a:cubicBezTo>
                  <a:cubicBezTo>
                    <a:pt x="187" y="24"/>
                    <a:pt x="186" y="23"/>
                    <a:pt x="184" y="23"/>
                  </a:cubicBezTo>
                  <a:cubicBezTo>
                    <a:pt x="176" y="23"/>
                    <a:pt x="176" y="23"/>
                    <a:pt x="176" y="23"/>
                  </a:cubicBezTo>
                  <a:lnTo>
                    <a:pt x="176" y="16"/>
                  </a:lnTo>
                  <a:close/>
                  <a:moveTo>
                    <a:pt x="158" y="15"/>
                  </a:moveTo>
                  <a:cubicBezTo>
                    <a:pt x="158" y="26"/>
                    <a:pt x="158" y="26"/>
                    <a:pt x="158" y="26"/>
                  </a:cubicBezTo>
                  <a:cubicBezTo>
                    <a:pt x="158" y="27"/>
                    <a:pt x="160" y="28"/>
                    <a:pt x="161" y="28"/>
                  </a:cubicBezTo>
                  <a:cubicBezTo>
                    <a:pt x="162" y="28"/>
                    <a:pt x="163" y="27"/>
                    <a:pt x="163" y="26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3" y="1"/>
                    <a:pt x="162" y="0"/>
                    <a:pt x="161" y="0"/>
                  </a:cubicBezTo>
                  <a:cubicBezTo>
                    <a:pt x="160" y="0"/>
                    <a:pt x="158" y="1"/>
                    <a:pt x="158" y="3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1"/>
                    <a:pt x="151" y="0"/>
                    <a:pt x="149" y="0"/>
                  </a:cubicBezTo>
                  <a:cubicBezTo>
                    <a:pt x="148" y="0"/>
                    <a:pt x="147" y="1"/>
                    <a:pt x="147" y="3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7" y="27"/>
                    <a:pt x="148" y="28"/>
                    <a:pt x="149" y="28"/>
                  </a:cubicBezTo>
                  <a:cubicBezTo>
                    <a:pt x="151" y="28"/>
                    <a:pt x="152" y="27"/>
                    <a:pt x="152" y="26"/>
                  </a:cubicBezTo>
                  <a:cubicBezTo>
                    <a:pt x="152" y="15"/>
                    <a:pt x="152" y="15"/>
                    <a:pt x="152" y="15"/>
                  </a:cubicBezTo>
                  <a:lnTo>
                    <a:pt x="158" y="15"/>
                  </a:lnTo>
                  <a:close/>
                  <a:moveTo>
                    <a:pt x="117" y="23"/>
                  </a:moveTo>
                  <a:cubicBezTo>
                    <a:pt x="117" y="3"/>
                    <a:pt x="117" y="3"/>
                    <a:pt x="117" y="3"/>
                  </a:cubicBezTo>
                  <a:cubicBezTo>
                    <a:pt x="117" y="1"/>
                    <a:pt x="116" y="0"/>
                    <a:pt x="115" y="0"/>
                  </a:cubicBezTo>
                  <a:cubicBezTo>
                    <a:pt x="114" y="0"/>
                    <a:pt x="112" y="1"/>
                    <a:pt x="112" y="3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12" y="27"/>
                    <a:pt x="113" y="28"/>
                    <a:pt x="115" y="28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7" y="28"/>
                    <a:pt x="128" y="27"/>
                    <a:pt x="128" y="25"/>
                  </a:cubicBezTo>
                  <a:cubicBezTo>
                    <a:pt x="128" y="24"/>
                    <a:pt x="127" y="23"/>
                    <a:pt x="125" y="23"/>
                  </a:cubicBezTo>
                  <a:lnTo>
                    <a:pt x="117" y="23"/>
                  </a:lnTo>
                  <a:close/>
                  <a:moveTo>
                    <a:pt x="94" y="17"/>
                  </a:moveTo>
                  <a:cubicBezTo>
                    <a:pt x="97" y="6"/>
                    <a:pt x="97" y="6"/>
                    <a:pt x="97" y="6"/>
                  </a:cubicBezTo>
                  <a:cubicBezTo>
                    <a:pt x="97" y="6"/>
                    <a:pt x="97" y="6"/>
                    <a:pt x="97" y="6"/>
                  </a:cubicBezTo>
                  <a:cubicBezTo>
                    <a:pt x="99" y="17"/>
                    <a:pt x="99" y="17"/>
                    <a:pt x="99" y="17"/>
                  </a:cubicBezTo>
                  <a:lnTo>
                    <a:pt x="94" y="17"/>
                  </a:lnTo>
                  <a:close/>
                  <a:moveTo>
                    <a:pt x="100" y="21"/>
                  </a:moveTo>
                  <a:cubicBezTo>
                    <a:pt x="101" y="25"/>
                    <a:pt x="101" y="25"/>
                    <a:pt x="101" y="25"/>
                  </a:cubicBezTo>
                  <a:cubicBezTo>
                    <a:pt x="101" y="27"/>
                    <a:pt x="102" y="28"/>
                    <a:pt x="104" y="28"/>
                  </a:cubicBezTo>
                  <a:cubicBezTo>
                    <a:pt x="105" y="28"/>
                    <a:pt x="106" y="27"/>
                    <a:pt x="106" y="26"/>
                  </a:cubicBezTo>
                  <a:cubicBezTo>
                    <a:pt x="106" y="25"/>
                    <a:pt x="106" y="25"/>
                    <a:pt x="106" y="2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0" y="1"/>
                    <a:pt x="99" y="0"/>
                    <a:pt x="97" y="0"/>
                  </a:cubicBezTo>
                  <a:cubicBezTo>
                    <a:pt x="94" y="0"/>
                    <a:pt x="93" y="1"/>
                    <a:pt x="93" y="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25"/>
                    <a:pt x="88" y="25"/>
                    <a:pt x="88" y="26"/>
                  </a:cubicBezTo>
                  <a:cubicBezTo>
                    <a:pt x="88" y="27"/>
                    <a:pt x="88" y="28"/>
                    <a:pt x="90" y="28"/>
                  </a:cubicBezTo>
                  <a:cubicBezTo>
                    <a:pt x="92" y="28"/>
                    <a:pt x="92" y="27"/>
                    <a:pt x="93" y="26"/>
                  </a:cubicBezTo>
                  <a:cubicBezTo>
                    <a:pt x="94" y="21"/>
                    <a:pt x="94" y="21"/>
                    <a:pt x="94" y="21"/>
                  </a:cubicBezTo>
                  <a:lnTo>
                    <a:pt x="100" y="21"/>
                  </a:lnTo>
                  <a:close/>
                  <a:moveTo>
                    <a:pt x="71" y="4"/>
                  </a:moveTo>
                  <a:cubicBezTo>
                    <a:pt x="74" y="4"/>
                    <a:pt x="74" y="4"/>
                    <a:pt x="74" y="4"/>
                  </a:cubicBezTo>
                  <a:cubicBezTo>
                    <a:pt x="75" y="4"/>
                    <a:pt x="76" y="5"/>
                    <a:pt x="76" y="8"/>
                  </a:cubicBezTo>
                  <a:cubicBezTo>
                    <a:pt x="76" y="10"/>
                    <a:pt x="75" y="12"/>
                    <a:pt x="73" y="12"/>
                  </a:cubicBezTo>
                  <a:cubicBezTo>
                    <a:pt x="71" y="12"/>
                    <a:pt x="71" y="12"/>
                    <a:pt x="71" y="12"/>
                  </a:cubicBezTo>
                  <a:lnTo>
                    <a:pt x="71" y="4"/>
                  </a:lnTo>
                  <a:close/>
                  <a:moveTo>
                    <a:pt x="71" y="15"/>
                  </a:moveTo>
                  <a:cubicBezTo>
                    <a:pt x="74" y="15"/>
                    <a:pt x="74" y="15"/>
                    <a:pt x="74" y="15"/>
                  </a:cubicBezTo>
                  <a:cubicBezTo>
                    <a:pt x="76" y="15"/>
                    <a:pt x="77" y="17"/>
                    <a:pt x="77" y="19"/>
                  </a:cubicBezTo>
                  <a:cubicBezTo>
                    <a:pt x="77" y="22"/>
                    <a:pt x="76" y="24"/>
                    <a:pt x="74" y="24"/>
                  </a:cubicBezTo>
                  <a:cubicBezTo>
                    <a:pt x="71" y="24"/>
                    <a:pt x="71" y="24"/>
                    <a:pt x="71" y="24"/>
                  </a:cubicBezTo>
                  <a:lnTo>
                    <a:pt x="71" y="15"/>
                  </a:lnTo>
                  <a:close/>
                  <a:moveTo>
                    <a:pt x="66" y="25"/>
                  </a:moveTo>
                  <a:cubicBezTo>
                    <a:pt x="66" y="27"/>
                    <a:pt x="67" y="28"/>
                    <a:pt x="69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0" y="28"/>
                    <a:pt x="82" y="24"/>
                    <a:pt x="82" y="19"/>
                  </a:cubicBezTo>
                  <a:cubicBezTo>
                    <a:pt x="82" y="16"/>
                    <a:pt x="81" y="14"/>
                    <a:pt x="79" y="13"/>
                  </a:cubicBezTo>
                  <a:cubicBezTo>
                    <a:pt x="80" y="13"/>
                    <a:pt x="81" y="10"/>
                    <a:pt x="81" y="8"/>
                  </a:cubicBezTo>
                  <a:cubicBezTo>
                    <a:pt x="81" y="3"/>
                    <a:pt x="80" y="1"/>
                    <a:pt x="75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7" y="1"/>
                    <a:pt x="66" y="2"/>
                    <a:pt x="66" y="3"/>
                  </a:cubicBezTo>
                  <a:lnTo>
                    <a:pt x="66" y="25"/>
                  </a:lnTo>
                  <a:close/>
                  <a:moveTo>
                    <a:pt x="48" y="11"/>
                  </a:moveTo>
                  <a:cubicBezTo>
                    <a:pt x="48" y="5"/>
                    <a:pt x="49" y="4"/>
                    <a:pt x="51" y="4"/>
                  </a:cubicBezTo>
                  <a:cubicBezTo>
                    <a:pt x="52" y="4"/>
                    <a:pt x="54" y="5"/>
                    <a:pt x="54" y="11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23"/>
                    <a:pt x="53" y="24"/>
                    <a:pt x="51" y="24"/>
                  </a:cubicBezTo>
                  <a:cubicBezTo>
                    <a:pt x="48" y="24"/>
                    <a:pt x="48" y="23"/>
                    <a:pt x="48" y="17"/>
                  </a:cubicBezTo>
                  <a:lnTo>
                    <a:pt x="48" y="11"/>
                  </a:lnTo>
                  <a:close/>
                  <a:moveTo>
                    <a:pt x="42" y="17"/>
                  </a:moveTo>
                  <a:cubicBezTo>
                    <a:pt x="42" y="27"/>
                    <a:pt x="46" y="28"/>
                    <a:pt x="51" y="28"/>
                  </a:cubicBezTo>
                  <a:cubicBezTo>
                    <a:pt x="55" y="28"/>
                    <a:pt x="59" y="27"/>
                    <a:pt x="59" y="1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"/>
                    <a:pt x="55" y="0"/>
                    <a:pt x="51" y="0"/>
                  </a:cubicBezTo>
                  <a:cubicBezTo>
                    <a:pt x="46" y="0"/>
                    <a:pt x="42" y="1"/>
                    <a:pt x="42" y="11"/>
                  </a:cubicBezTo>
                  <a:lnTo>
                    <a:pt x="42" y="17"/>
                  </a:lnTo>
                  <a:close/>
                  <a:moveTo>
                    <a:pt x="28" y="2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1"/>
                    <a:pt x="27" y="0"/>
                    <a:pt x="26" y="0"/>
                  </a:cubicBezTo>
                  <a:cubicBezTo>
                    <a:pt x="25" y="0"/>
                    <a:pt x="23" y="1"/>
                    <a:pt x="23" y="3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7"/>
                    <a:pt x="24" y="28"/>
                    <a:pt x="2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8" y="28"/>
                    <a:pt x="39" y="27"/>
                    <a:pt x="39" y="25"/>
                  </a:cubicBezTo>
                  <a:cubicBezTo>
                    <a:pt x="39" y="24"/>
                    <a:pt x="38" y="23"/>
                    <a:pt x="36" y="23"/>
                  </a:cubicBezTo>
                  <a:lnTo>
                    <a:pt x="28" y="23"/>
                  </a:lnTo>
                  <a:close/>
                  <a:moveTo>
                    <a:pt x="16" y="15"/>
                  </a:moveTo>
                  <a:cubicBezTo>
                    <a:pt x="16" y="14"/>
                    <a:pt x="15" y="13"/>
                    <a:pt x="13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7" y="14"/>
                    <a:pt x="7" y="15"/>
                  </a:cubicBezTo>
                  <a:cubicBezTo>
                    <a:pt x="7" y="16"/>
                    <a:pt x="8" y="17"/>
                    <a:pt x="9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2"/>
                    <a:pt x="10" y="24"/>
                    <a:pt x="8" y="24"/>
                  </a:cubicBezTo>
                  <a:cubicBezTo>
                    <a:pt x="5" y="24"/>
                    <a:pt x="5" y="22"/>
                    <a:pt x="5" y="1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1" y="5"/>
                    <a:pt x="11" y="6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3"/>
                    <a:pt x="14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1" y="28"/>
                    <a:pt x="7" y="28"/>
                  </a:cubicBezTo>
                  <a:cubicBezTo>
                    <a:pt x="9" y="28"/>
                    <a:pt x="11" y="27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3" y="28"/>
                    <a:pt x="14" y="28"/>
                  </a:cubicBezTo>
                  <a:cubicBezTo>
                    <a:pt x="15" y="28"/>
                    <a:pt x="16" y="27"/>
                    <a:pt x="16" y="26"/>
                  </a:cubicBezTo>
                  <a:lnTo>
                    <a:pt x="16" y="1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426F706C-ABAC-43F4-8947-67F927987A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61" y="2812"/>
              <a:ext cx="821" cy="111"/>
            </a:xfrm>
            <a:custGeom>
              <a:avLst/>
              <a:gdLst>
                <a:gd name="T0" fmla="*/ 202 w 208"/>
                <a:gd name="T1" fmla="*/ 13 h 28"/>
                <a:gd name="T2" fmla="*/ 204 w 208"/>
                <a:gd name="T3" fmla="*/ 17 h 28"/>
                <a:gd name="T4" fmla="*/ 197 w 208"/>
                <a:gd name="T5" fmla="*/ 15 h 28"/>
                <a:gd name="T6" fmla="*/ 203 w 208"/>
                <a:gd name="T7" fmla="*/ 6 h 28"/>
                <a:gd name="T8" fmla="*/ 201 w 208"/>
                <a:gd name="T9" fmla="*/ 0 h 28"/>
                <a:gd name="T10" fmla="*/ 199 w 208"/>
                <a:gd name="T11" fmla="*/ 28 h 28"/>
                <a:gd name="T12" fmla="*/ 205 w 208"/>
                <a:gd name="T13" fmla="*/ 26 h 28"/>
                <a:gd name="T14" fmla="*/ 208 w 208"/>
                <a:gd name="T15" fmla="*/ 15 h 28"/>
                <a:gd name="T16" fmla="*/ 173 w 208"/>
                <a:gd name="T17" fmla="*/ 25 h 28"/>
                <a:gd name="T18" fmla="*/ 179 w 208"/>
                <a:gd name="T19" fmla="*/ 26 h 28"/>
                <a:gd name="T20" fmla="*/ 185 w 208"/>
                <a:gd name="T21" fmla="*/ 3 h 28"/>
                <a:gd name="T22" fmla="*/ 180 w 208"/>
                <a:gd name="T23" fmla="*/ 17 h 28"/>
                <a:gd name="T24" fmla="*/ 170 w 208"/>
                <a:gd name="T25" fmla="*/ 0 h 28"/>
                <a:gd name="T26" fmla="*/ 154 w 208"/>
                <a:gd name="T27" fmla="*/ 25 h 28"/>
                <a:gd name="T28" fmla="*/ 160 w 208"/>
                <a:gd name="T29" fmla="*/ 3 h 28"/>
                <a:gd name="T30" fmla="*/ 154 w 208"/>
                <a:gd name="T31" fmla="*/ 25 h 28"/>
                <a:gd name="T32" fmla="*/ 134 w 208"/>
                <a:gd name="T33" fmla="*/ 5 h 28"/>
                <a:gd name="T34" fmla="*/ 140 w 208"/>
                <a:gd name="T35" fmla="*/ 28 h 28"/>
                <a:gd name="T36" fmla="*/ 147 w 208"/>
                <a:gd name="T37" fmla="*/ 5 h 28"/>
                <a:gd name="T38" fmla="*/ 134 w 208"/>
                <a:gd name="T39" fmla="*/ 1 h 28"/>
                <a:gd name="T40" fmla="*/ 120 w 208"/>
                <a:gd name="T41" fmla="*/ 0 h 28"/>
                <a:gd name="T42" fmla="*/ 120 w 208"/>
                <a:gd name="T43" fmla="*/ 28 h 28"/>
                <a:gd name="T44" fmla="*/ 130 w 208"/>
                <a:gd name="T45" fmla="*/ 23 h 28"/>
                <a:gd name="T46" fmla="*/ 101 w 208"/>
                <a:gd name="T47" fmla="*/ 28 h 28"/>
                <a:gd name="T48" fmla="*/ 107 w 208"/>
                <a:gd name="T49" fmla="*/ 0 h 28"/>
                <a:gd name="T50" fmla="*/ 101 w 208"/>
                <a:gd name="T51" fmla="*/ 24 h 28"/>
                <a:gd name="T52" fmla="*/ 96 w 208"/>
                <a:gd name="T53" fmla="*/ 0 h 28"/>
                <a:gd name="T54" fmla="*/ 79 w 208"/>
                <a:gd name="T55" fmla="*/ 17 h 28"/>
                <a:gd name="T56" fmla="*/ 75 w 208"/>
                <a:gd name="T57" fmla="*/ 21 h 28"/>
                <a:gd name="T58" fmla="*/ 78 w 208"/>
                <a:gd name="T59" fmla="*/ 28 h 28"/>
                <a:gd name="T60" fmla="*/ 78 w 208"/>
                <a:gd name="T61" fmla="*/ 11 h 28"/>
                <a:gd name="T62" fmla="*/ 81 w 208"/>
                <a:gd name="T63" fmla="*/ 6 h 28"/>
                <a:gd name="T64" fmla="*/ 78 w 208"/>
                <a:gd name="T65" fmla="*/ 0 h 28"/>
                <a:gd name="T66" fmla="*/ 79 w 208"/>
                <a:gd name="T67" fmla="*/ 17 h 28"/>
                <a:gd name="T68" fmla="*/ 51 w 208"/>
                <a:gd name="T69" fmla="*/ 25 h 28"/>
                <a:gd name="T70" fmla="*/ 57 w 208"/>
                <a:gd name="T71" fmla="*/ 26 h 28"/>
                <a:gd name="T72" fmla="*/ 63 w 208"/>
                <a:gd name="T73" fmla="*/ 3 h 28"/>
                <a:gd name="T74" fmla="*/ 58 w 208"/>
                <a:gd name="T75" fmla="*/ 17 h 28"/>
                <a:gd name="T76" fmla="*/ 49 w 208"/>
                <a:gd name="T77" fmla="*/ 0 h 28"/>
                <a:gd name="T78" fmla="*/ 27 w 208"/>
                <a:gd name="T79" fmla="*/ 11 h 28"/>
                <a:gd name="T80" fmla="*/ 33 w 208"/>
                <a:gd name="T81" fmla="*/ 17 h 28"/>
                <a:gd name="T82" fmla="*/ 27 w 208"/>
                <a:gd name="T83" fmla="*/ 11 h 28"/>
                <a:gd name="T84" fmla="*/ 39 w 208"/>
                <a:gd name="T85" fmla="*/ 17 h 28"/>
                <a:gd name="T86" fmla="*/ 22 w 208"/>
                <a:gd name="T87" fmla="*/ 11 h 28"/>
                <a:gd name="T88" fmla="*/ 8 w 208"/>
                <a:gd name="T89" fmla="*/ 28 h 28"/>
                <a:gd name="T90" fmla="*/ 11 w 208"/>
                <a:gd name="T91" fmla="*/ 22 h 28"/>
                <a:gd name="T92" fmla="*/ 5 w 208"/>
                <a:gd name="T93" fmla="*/ 13 h 28"/>
                <a:gd name="T94" fmla="*/ 13 w 208"/>
                <a:gd name="T95" fmla="*/ 10 h 28"/>
                <a:gd name="T96" fmla="*/ 0 w 208"/>
                <a:gd name="T97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8" h="28">
                  <a:moveTo>
                    <a:pt x="208" y="15"/>
                  </a:moveTo>
                  <a:cubicBezTo>
                    <a:pt x="208" y="14"/>
                    <a:pt x="208" y="13"/>
                    <a:pt x="206" y="13"/>
                  </a:cubicBezTo>
                  <a:cubicBezTo>
                    <a:pt x="202" y="13"/>
                    <a:pt x="202" y="13"/>
                    <a:pt x="202" y="13"/>
                  </a:cubicBezTo>
                  <a:cubicBezTo>
                    <a:pt x="200" y="13"/>
                    <a:pt x="200" y="13"/>
                    <a:pt x="200" y="15"/>
                  </a:cubicBezTo>
                  <a:cubicBezTo>
                    <a:pt x="200" y="16"/>
                    <a:pt x="200" y="17"/>
                    <a:pt x="202" y="17"/>
                  </a:cubicBezTo>
                  <a:cubicBezTo>
                    <a:pt x="204" y="17"/>
                    <a:pt x="204" y="17"/>
                    <a:pt x="204" y="17"/>
                  </a:cubicBezTo>
                  <a:cubicBezTo>
                    <a:pt x="204" y="19"/>
                    <a:pt x="204" y="19"/>
                    <a:pt x="204" y="19"/>
                  </a:cubicBezTo>
                  <a:cubicBezTo>
                    <a:pt x="204" y="22"/>
                    <a:pt x="203" y="24"/>
                    <a:pt x="201" y="24"/>
                  </a:cubicBezTo>
                  <a:cubicBezTo>
                    <a:pt x="198" y="24"/>
                    <a:pt x="197" y="22"/>
                    <a:pt x="197" y="15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5"/>
                    <a:pt x="199" y="4"/>
                    <a:pt x="201" y="4"/>
                  </a:cubicBezTo>
                  <a:cubicBezTo>
                    <a:pt x="203" y="4"/>
                    <a:pt x="203" y="5"/>
                    <a:pt x="203" y="6"/>
                  </a:cubicBezTo>
                  <a:cubicBezTo>
                    <a:pt x="204" y="9"/>
                    <a:pt x="204" y="10"/>
                    <a:pt x="206" y="10"/>
                  </a:cubicBezTo>
                  <a:cubicBezTo>
                    <a:pt x="208" y="10"/>
                    <a:pt x="208" y="8"/>
                    <a:pt x="208" y="7"/>
                  </a:cubicBezTo>
                  <a:cubicBezTo>
                    <a:pt x="208" y="3"/>
                    <a:pt x="206" y="0"/>
                    <a:pt x="201" y="0"/>
                  </a:cubicBezTo>
                  <a:cubicBezTo>
                    <a:pt x="195" y="0"/>
                    <a:pt x="192" y="3"/>
                    <a:pt x="192" y="12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23"/>
                    <a:pt x="194" y="28"/>
                    <a:pt x="199" y="28"/>
                  </a:cubicBezTo>
                  <a:cubicBezTo>
                    <a:pt x="202" y="28"/>
                    <a:pt x="203" y="27"/>
                    <a:pt x="204" y="25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6"/>
                    <a:pt x="205" y="26"/>
                    <a:pt x="205" y="26"/>
                  </a:cubicBezTo>
                  <a:cubicBezTo>
                    <a:pt x="205" y="27"/>
                    <a:pt x="205" y="28"/>
                    <a:pt x="207" y="28"/>
                  </a:cubicBezTo>
                  <a:cubicBezTo>
                    <a:pt x="208" y="28"/>
                    <a:pt x="208" y="27"/>
                    <a:pt x="208" y="26"/>
                  </a:cubicBezTo>
                  <a:lnTo>
                    <a:pt x="208" y="15"/>
                  </a:lnTo>
                  <a:close/>
                  <a:moveTo>
                    <a:pt x="168" y="25"/>
                  </a:moveTo>
                  <a:cubicBezTo>
                    <a:pt x="168" y="27"/>
                    <a:pt x="169" y="28"/>
                    <a:pt x="170" y="28"/>
                  </a:cubicBezTo>
                  <a:cubicBezTo>
                    <a:pt x="172" y="28"/>
                    <a:pt x="173" y="27"/>
                    <a:pt x="173" y="25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9" y="26"/>
                    <a:pt x="179" y="26"/>
                    <a:pt x="179" y="26"/>
                  </a:cubicBezTo>
                  <a:cubicBezTo>
                    <a:pt x="180" y="28"/>
                    <a:pt x="180" y="28"/>
                    <a:pt x="182" y="28"/>
                  </a:cubicBezTo>
                  <a:cubicBezTo>
                    <a:pt x="184" y="28"/>
                    <a:pt x="185" y="27"/>
                    <a:pt x="185" y="25"/>
                  </a:cubicBezTo>
                  <a:cubicBezTo>
                    <a:pt x="185" y="3"/>
                    <a:pt x="185" y="3"/>
                    <a:pt x="185" y="3"/>
                  </a:cubicBezTo>
                  <a:cubicBezTo>
                    <a:pt x="185" y="1"/>
                    <a:pt x="184" y="0"/>
                    <a:pt x="182" y="0"/>
                  </a:cubicBezTo>
                  <a:cubicBezTo>
                    <a:pt x="181" y="0"/>
                    <a:pt x="180" y="1"/>
                    <a:pt x="180" y="3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3" y="1"/>
                    <a:pt x="172" y="0"/>
                    <a:pt x="170" y="0"/>
                  </a:cubicBezTo>
                  <a:cubicBezTo>
                    <a:pt x="169" y="0"/>
                    <a:pt x="168" y="1"/>
                    <a:pt x="168" y="3"/>
                  </a:cubicBezTo>
                  <a:lnTo>
                    <a:pt x="168" y="25"/>
                  </a:lnTo>
                  <a:close/>
                  <a:moveTo>
                    <a:pt x="154" y="25"/>
                  </a:moveTo>
                  <a:cubicBezTo>
                    <a:pt x="154" y="27"/>
                    <a:pt x="156" y="28"/>
                    <a:pt x="157" y="28"/>
                  </a:cubicBezTo>
                  <a:cubicBezTo>
                    <a:pt x="158" y="28"/>
                    <a:pt x="160" y="27"/>
                    <a:pt x="160" y="25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1"/>
                    <a:pt x="158" y="0"/>
                    <a:pt x="157" y="0"/>
                  </a:cubicBezTo>
                  <a:cubicBezTo>
                    <a:pt x="156" y="0"/>
                    <a:pt x="154" y="1"/>
                    <a:pt x="154" y="3"/>
                  </a:cubicBezTo>
                  <a:lnTo>
                    <a:pt x="154" y="25"/>
                  </a:lnTo>
                  <a:close/>
                  <a:moveTo>
                    <a:pt x="134" y="1"/>
                  </a:moveTo>
                  <a:cubicBezTo>
                    <a:pt x="132" y="1"/>
                    <a:pt x="131" y="2"/>
                    <a:pt x="131" y="3"/>
                  </a:cubicBezTo>
                  <a:cubicBezTo>
                    <a:pt x="131" y="4"/>
                    <a:pt x="132" y="5"/>
                    <a:pt x="134" y="5"/>
                  </a:cubicBezTo>
                  <a:cubicBezTo>
                    <a:pt x="138" y="5"/>
                    <a:pt x="138" y="5"/>
                    <a:pt x="138" y="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7"/>
                    <a:pt x="139" y="28"/>
                    <a:pt x="140" y="28"/>
                  </a:cubicBezTo>
                  <a:cubicBezTo>
                    <a:pt x="142" y="28"/>
                    <a:pt x="143" y="27"/>
                    <a:pt x="143" y="2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9" y="5"/>
                    <a:pt x="149" y="4"/>
                    <a:pt x="149" y="3"/>
                  </a:cubicBezTo>
                  <a:cubicBezTo>
                    <a:pt x="149" y="2"/>
                    <a:pt x="149" y="1"/>
                    <a:pt x="147" y="1"/>
                  </a:cubicBezTo>
                  <a:lnTo>
                    <a:pt x="134" y="1"/>
                  </a:lnTo>
                  <a:close/>
                  <a:moveTo>
                    <a:pt x="122" y="23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22" y="1"/>
                    <a:pt x="121" y="0"/>
                    <a:pt x="120" y="0"/>
                  </a:cubicBezTo>
                  <a:cubicBezTo>
                    <a:pt x="119" y="0"/>
                    <a:pt x="117" y="1"/>
                    <a:pt x="117" y="3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27"/>
                    <a:pt x="118" y="28"/>
                    <a:pt x="120" y="28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2" y="28"/>
                    <a:pt x="132" y="27"/>
                    <a:pt x="132" y="25"/>
                  </a:cubicBezTo>
                  <a:cubicBezTo>
                    <a:pt x="132" y="24"/>
                    <a:pt x="132" y="23"/>
                    <a:pt x="130" y="23"/>
                  </a:cubicBezTo>
                  <a:lnTo>
                    <a:pt x="122" y="23"/>
                  </a:lnTo>
                  <a:close/>
                  <a:moveTo>
                    <a:pt x="93" y="20"/>
                  </a:moveTo>
                  <a:cubicBezTo>
                    <a:pt x="93" y="25"/>
                    <a:pt x="96" y="28"/>
                    <a:pt x="101" y="28"/>
                  </a:cubicBezTo>
                  <a:cubicBezTo>
                    <a:pt x="107" y="28"/>
                    <a:pt x="110" y="25"/>
                    <a:pt x="110" y="20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0" y="1"/>
                    <a:pt x="108" y="0"/>
                    <a:pt x="107" y="0"/>
                  </a:cubicBezTo>
                  <a:cubicBezTo>
                    <a:pt x="106" y="0"/>
                    <a:pt x="105" y="1"/>
                    <a:pt x="105" y="3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5" y="23"/>
                    <a:pt x="103" y="24"/>
                    <a:pt x="101" y="24"/>
                  </a:cubicBezTo>
                  <a:cubicBezTo>
                    <a:pt x="100" y="24"/>
                    <a:pt x="98" y="23"/>
                    <a:pt x="98" y="2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8" y="1"/>
                    <a:pt x="97" y="0"/>
                    <a:pt x="96" y="0"/>
                  </a:cubicBezTo>
                  <a:cubicBezTo>
                    <a:pt x="94" y="0"/>
                    <a:pt x="93" y="1"/>
                    <a:pt x="93" y="3"/>
                  </a:cubicBezTo>
                  <a:lnTo>
                    <a:pt x="93" y="20"/>
                  </a:lnTo>
                  <a:close/>
                  <a:moveTo>
                    <a:pt x="79" y="17"/>
                  </a:moveTo>
                  <a:cubicBezTo>
                    <a:pt x="81" y="18"/>
                    <a:pt x="81" y="19"/>
                    <a:pt x="81" y="21"/>
                  </a:cubicBezTo>
                  <a:cubicBezTo>
                    <a:pt x="81" y="23"/>
                    <a:pt x="80" y="24"/>
                    <a:pt x="78" y="24"/>
                  </a:cubicBezTo>
                  <a:cubicBezTo>
                    <a:pt x="76" y="24"/>
                    <a:pt x="75" y="23"/>
                    <a:pt x="75" y="21"/>
                  </a:cubicBezTo>
                  <a:cubicBezTo>
                    <a:pt x="75" y="19"/>
                    <a:pt x="74" y="18"/>
                    <a:pt x="73" y="18"/>
                  </a:cubicBezTo>
                  <a:cubicBezTo>
                    <a:pt x="71" y="18"/>
                    <a:pt x="70" y="19"/>
                    <a:pt x="70" y="21"/>
                  </a:cubicBezTo>
                  <a:cubicBezTo>
                    <a:pt x="70" y="22"/>
                    <a:pt x="71" y="28"/>
                    <a:pt x="78" y="28"/>
                  </a:cubicBezTo>
                  <a:cubicBezTo>
                    <a:pt x="84" y="28"/>
                    <a:pt x="86" y="25"/>
                    <a:pt x="86" y="21"/>
                  </a:cubicBezTo>
                  <a:cubicBezTo>
                    <a:pt x="86" y="17"/>
                    <a:pt x="85" y="15"/>
                    <a:pt x="82" y="13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6" y="9"/>
                    <a:pt x="76" y="8"/>
                    <a:pt x="76" y="7"/>
                  </a:cubicBezTo>
                  <a:cubicBezTo>
                    <a:pt x="76" y="5"/>
                    <a:pt x="77" y="4"/>
                    <a:pt x="78" y="4"/>
                  </a:cubicBezTo>
                  <a:cubicBezTo>
                    <a:pt x="80" y="4"/>
                    <a:pt x="81" y="5"/>
                    <a:pt x="81" y="6"/>
                  </a:cubicBezTo>
                  <a:cubicBezTo>
                    <a:pt x="81" y="8"/>
                    <a:pt x="81" y="9"/>
                    <a:pt x="83" y="9"/>
                  </a:cubicBezTo>
                  <a:cubicBezTo>
                    <a:pt x="85" y="9"/>
                    <a:pt x="86" y="8"/>
                    <a:pt x="86" y="7"/>
                  </a:cubicBezTo>
                  <a:cubicBezTo>
                    <a:pt x="86" y="4"/>
                    <a:pt x="84" y="0"/>
                    <a:pt x="78" y="0"/>
                  </a:cubicBezTo>
                  <a:cubicBezTo>
                    <a:pt x="74" y="0"/>
                    <a:pt x="71" y="2"/>
                    <a:pt x="71" y="7"/>
                  </a:cubicBezTo>
                  <a:cubicBezTo>
                    <a:pt x="71" y="10"/>
                    <a:pt x="71" y="12"/>
                    <a:pt x="74" y="14"/>
                  </a:cubicBezTo>
                  <a:lnTo>
                    <a:pt x="79" y="17"/>
                  </a:lnTo>
                  <a:close/>
                  <a:moveTo>
                    <a:pt x="46" y="25"/>
                  </a:moveTo>
                  <a:cubicBezTo>
                    <a:pt x="46" y="27"/>
                    <a:pt x="47" y="28"/>
                    <a:pt x="48" y="28"/>
                  </a:cubicBezTo>
                  <a:cubicBezTo>
                    <a:pt x="50" y="28"/>
                    <a:pt x="51" y="27"/>
                    <a:pt x="51" y="25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8"/>
                    <a:pt x="59" y="28"/>
                    <a:pt x="61" y="28"/>
                  </a:cubicBezTo>
                  <a:cubicBezTo>
                    <a:pt x="62" y="28"/>
                    <a:pt x="63" y="27"/>
                    <a:pt x="63" y="2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1"/>
                    <a:pt x="62" y="0"/>
                    <a:pt x="61" y="0"/>
                  </a:cubicBezTo>
                  <a:cubicBezTo>
                    <a:pt x="59" y="0"/>
                    <a:pt x="58" y="1"/>
                    <a:pt x="58" y="3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1" y="1"/>
                    <a:pt x="50" y="0"/>
                    <a:pt x="49" y="0"/>
                  </a:cubicBezTo>
                  <a:cubicBezTo>
                    <a:pt x="47" y="0"/>
                    <a:pt x="46" y="1"/>
                    <a:pt x="46" y="3"/>
                  </a:cubicBezTo>
                  <a:lnTo>
                    <a:pt x="46" y="25"/>
                  </a:lnTo>
                  <a:close/>
                  <a:moveTo>
                    <a:pt x="27" y="11"/>
                  </a:moveTo>
                  <a:cubicBezTo>
                    <a:pt x="27" y="5"/>
                    <a:pt x="28" y="4"/>
                    <a:pt x="30" y="4"/>
                  </a:cubicBezTo>
                  <a:cubicBezTo>
                    <a:pt x="32" y="4"/>
                    <a:pt x="33" y="5"/>
                    <a:pt x="33" y="11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23"/>
                    <a:pt x="32" y="24"/>
                    <a:pt x="30" y="24"/>
                  </a:cubicBezTo>
                  <a:cubicBezTo>
                    <a:pt x="28" y="24"/>
                    <a:pt x="27" y="23"/>
                    <a:pt x="27" y="17"/>
                  </a:cubicBezTo>
                  <a:lnTo>
                    <a:pt x="27" y="11"/>
                  </a:lnTo>
                  <a:close/>
                  <a:moveTo>
                    <a:pt x="22" y="17"/>
                  </a:moveTo>
                  <a:cubicBezTo>
                    <a:pt x="22" y="27"/>
                    <a:pt x="26" y="28"/>
                    <a:pt x="30" y="28"/>
                  </a:cubicBezTo>
                  <a:cubicBezTo>
                    <a:pt x="35" y="28"/>
                    <a:pt x="39" y="27"/>
                    <a:pt x="39" y="17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"/>
                    <a:pt x="35" y="0"/>
                    <a:pt x="30" y="0"/>
                  </a:cubicBezTo>
                  <a:cubicBezTo>
                    <a:pt x="26" y="0"/>
                    <a:pt x="22" y="1"/>
                    <a:pt x="22" y="11"/>
                  </a:cubicBezTo>
                  <a:lnTo>
                    <a:pt x="22" y="17"/>
                  </a:lnTo>
                  <a:close/>
                  <a:moveTo>
                    <a:pt x="0" y="17"/>
                  </a:moveTo>
                  <a:cubicBezTo>
                    <a:pt x="0" y="22"/>
                    <a:pt x="0" y="28"/>
                    <a:pt x="8" y="28"/>
                  </a:cubicBezTo>
                  <a:cubicBezTo>
                    <a:pt x="13" y="28"/>
                    <a:pt x="16" y="26"/>
                    <a:pt x="16" y="20"/>
                  </a:cubicBezTo>
                  <a:cubicBezTo>
                    <a:pt x="16" y="19"/>
                    <a:pt x="15" y="17"/>
                    <a:pt x="13" y="17"/>
                  </a:cubicBezTo>
                  <a:cubicBezTo>
                    <a:pt x="11" y="17"/>
                    <a:pt x="11" y="19"/>
                    <a:pt x="11" y="22"/>
                  </a:cubicBezTo>
                  <a:cubicBezTo>
                    <a:pt x="11" y="23"/>
                    <a:pt x="9" y="24"/>
                    <a:pt x="8" y="24"/>
                  </a:cubicBezTo>
                  <a:cubicBezTo>
                    <a:pt x="5" y="24"/>
                    <a:pt x="5" y="21"/>
                    <a:pt x="5" y="1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5"/>
                    <a:pt x="6" y="4"/>
                    <a:pt x="8" y="4"/>
                  </a:cubicBezTo>
                  <a:cubicBezTo>
                    <a:pt x="10" y="4"/>
                    <a:pt x="10" y="5"/>
                    <a:pt x="11" y="7"/>
                  </a:cubicBezTo>
                  <a:cubicBezTo>
                    <a:pt x="11" y="9"/>
                    <a:pt x="11" y="10"/>
                    <a:pt x="13" y="10"/>
                  </a:cubicBezTo>
                  <a:cubicBezTo>
                    <a:pt x="15" y="10"/>
                    <a:pt x="16" y="9"/>
                    <a:pt x="16" y="7"/>
                  </a:cubicBezTo>
                  <a:cubicBezTo>
                    <a:pt x="16" y="3"/>
                    <a:pt x="13" y="0"/>
                    <a:pt x="8" y="0"/>
                  </a:cubicBezTo>
                  <a:cubicBezTo>
                    <a:pt x="2" y="0"/>
                    <a:pt x="0" y="3"/>
                    <a:pt x="0" y="12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1613205-3015-4C71-80F1-C57E8AFDD9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6130" y="3016498"/>
            <a:ext cx="2347442" cy="825003"/>
          </a:xfrm>
        </p:spPr>
        <p:txBody>
          <a:bodyPr anchor="ctr"/>
          <a:lstStyle>
            <a:lvl1pPr algn="ctr">
              <a:lnSpc>
                <a:spcPct val="100000"/>
              </a:lnSpc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ANK</a:t>
            </a:r>
            <a:br>
              <a:rPr lang="en-US"/>
            </a:br>
            <a:r>
              <a:rPr lang="en-US"/>
              <a:t>YOU!</a:t>
            </a:r>
          </a:p>
        </p:txBody>
      </p:sp>
    </p:spTree>
    <p:extLst>
      <p:ext uri="{BB962C8B-B14F-4D97-AF65-F5344CB8AC3E}">
        <p14:creationId xmlns:p14="http://schemas.microsoft.com/office/powerpoint/2010/main" val="22481530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0835E51-6852-AE23-20E3-EC686B33B7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545064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473" imgH="473" progId="TCLayout.ActiveDocument.1">
                  <p:embed/>
                </p:oleObj>
              </mc:Choice>
              <mc:Fallback>
                <p:oleObj name="think-cell Slide" r:id="rId58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835E51-6852-AE23-20E3-EC686B33B7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EC06BC68-0572-4196-AF9F-46045E161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590" y="457200"/>
            <a:ext cx="10274910" cy="8863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INSERT HEADING HERE, IT CAN FIT INTO TWO LIN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690E10E-A60D-4AE7-8BA0-093FC2E065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64590" y="1828800"/>
            <a:ext cx="10274910" cy="320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You can download free icons here https://www.flaticon.com/authors/basic-straight/line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D185CC-1E2F-4346-9CE1-6D3E5BA6DA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00800"/>
            <a:ext cx="274320" cy="274320"/>
          </a:xfrm>
          <a:prstGeom prst="rect">
            <a:avLst/>
          </a:prstGeom>
          <a:blipFill>
            <a:blip r:embed="rId60"/>
            <a:stretch>
              <a:fillRect/>
            </a:stretch>
          </a:blipFill>
        </p:spPr>
        <p:txBody>
          <a:bodyPr vert="horz" lIns="0" tIns="0" rIns="0" bIns="0" rtlCol="0" anchor="ctr"/>
          <a:lstStyle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fld id="{73575697-EF3C-4719-A17A-D4AFCA3FC1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274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500"/>
        </a:spcAft>
        <a:buClr>
          <a:schemeClr val="accent1"/>
        </a:buClr>
        <a:buFont typeface="Arial" panose="020B0604020202020204" pitchFamily="34" charset="0"/>
        <a:buNone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694944" indent="-3429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7392">
          <p15:clr>
            <a:srgbClr val="F26B43"/>
          </p15:clr>
        </p15:guide>
        <p15:guide id="3" orient="horz" pos="288">
          <p15:clr>
            <a:srgbClr val="F26B43"/>
          </p15:clr>
        </p15:guide>
        <p15:guide id="5" orient="horz" pos="1152">
          <p15:clr>
            <a:srgbClr val="F26B43"/>
          </p15:clr>
        </p15:guide>
        <p15:guide id="6" orient="horz" pos="4032">
          <p15:clr>
            <a:srgbClr val="F26B43"/>
          </p15:clr>
        </p15:guide>
        <p15:guide id="7" orient="horz" pos="3168">
          <p15:clr>
            <a:srgbClr val="F26B43"/>
          </p15:clr>
        </p15:guide>
        <p15:guide id="8" orient="horz" pos="2160">
          <p15:clr>
            <a:srgbClr val="F26B43"/>
          </p15:clr>
        </p15:guide>
        <p15:guide id="9" orient="horz" pos="1344">
          <p15:clr>
            <a:srgbClr val="F26B43"/>
          </p15:clr>
        </p15:guide>
        <p15:guide id="10" pos="600">
          <p15:clr>
            <a:srgbClr val="F26B43"/>
          </p15:clr>
        </p15:guide>
        <p15:guide id="11" pos="7080">
          <p15:clr>
            <a:srgbClr val="F26B43"/>
          </p15:clr>
        </p15:guide>
        <p15:guide id="1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2756B-D31A-C13E-7D2B-067F16146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A97DE6B-0C4C-2B6C-D343-50669352E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sz="2800" dirty="0"/>
              <a:t>Price estimates for the different improved influenza vaccines based on the benchmarking analysis</a:t>
            </a:r>
            <a:endParaRPr lang="en-US" sz="28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0A4CC70-43D8-EDDB-7147-6A432E0DDA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377923"/>
              </p:ext>
            </p:extLst>
          </p:nvPr>
        </p:nvGraphicFramePr>
        <p:xfrm>
          <a:off x="382556" y="1478022"/>
          <a:ext cx="11366345" cy="4543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4235">
                  <a:extLst>
                    <a:ext uri="{9D8B030D-6E8A-4147-A177-3AD203B41FA5}">
                      <a16:colId xmlns:a16="http://schemas.microsoft.com/office/drawing/2014/main" val="3212614226"/>
                    </a:ext>
                  </a:extLst>
                </a:gridCol>
                <a:gridCol w="2314885">
                  <a:extLst>
                    <a:ext uri="{9D8B030D-6E8A-4147-A177-3AD203B41FA5}">
                      <a16:colId xmlns:a16="http://schemas.microsoft.com/office/drawing/2014/main" val="395664602"/>
                    </a:ext>
                  </a:extLst>
                </a:gridCol>
                <a:gridCol w="1127385">
                  <a:extLst>
                    <a:ext uri="{9D8B030D-6E8A-4147-A177-3AD203B41FA5}">
                      <a16:colId xmlns:a16="http://schemas.microsoft.com/office/drawing/2014/main" val="1489073322"/>
                    </a:ext>
                  </a:extLst>
                </a:gridCol>
                <a:gridCol w="934085">
                  <a:extLst>
                    <a:ext uri="{9D8B030D-6E8A-4147-A177-3AD203B41FA5}">
                      <a16:colId xmlns:a16="http://schemas.microsoft.com/office/drawing/2014/main" val="4051577923"/>
                    </a:ext>
                  </a:extLst>
                </a:gridCol>
                <a:gridCol w="1331151">
                  <a:extLst>
                    <a:ext uri="{9D8B030D-6E8A-4147-A177-3AD203B41FA5}">
                      <a16:colId xmlns:a16="http://schemas.microsoft.com/office/drawing/2014/main" val="3516572876"/>
                    </a:ext>
                  </a:extLst>
                </a:gridCol>
                <a:gridCol w="1331151">
                  <a:extLst>
                    <a:ext uri="{9D8B030D-6E8A-4147-A177-3AD203B41FA5}">
                      <a16:colId xmlns:a16="http://schemas.microsoft.com/office/drawing/2014/main" val="2021019522"/>
                    </a:ext>
                  </a:extLst>
                </a:gridCol>
                <a:gridCol w="1331151">
                  <a:extLst>
                    <a:ext uri="{9D8B030D-6E8A-4147-A177-3AD203B41FA5}">
                      <a16:colId xmlns:a16="http://schemas.microsoft.com/office/drawing/2014/main" val="3130381832"/>
                    </a:ext>
                  </a:extLst>
                </a:gridCol>
                <a:gridCol w="1331151">
                  <a:extLst>
                    <a:ext uri="{9D8B030D-6E8A-4147-A177-3AD203B41FA5}">
                      <a16:colId xmlns:a16="http://schemas.microsoft.com/office/drawing/2014/main" val="2999815279"/>
                    </a:ext>
                  </a:extLst>
                </a:gridCol>
                <a:gridCol w="1331151">
                  <a:extLst>
                    <a:ext uri="{9D8B030D-6E8A-4147-A177-3AD203B41FA5}">
                      <a16:colId xmlns:a16="http://schemas.microsoft.com/office/drawing/2014/main" val="4030327856"/>
                    </a:ext>
                  </a:extLst>
                </a:gridCol>
              </a:tblGrid>
              <a:tr h="581039">
                <a:tc rowSpan="2" gridSpan="2">
                  <a:txBody>
                    <a:bodyPr/>
                    <a:lstStyle/>
                    <a:p>
                      <a:r>
                        <a:rPr lang="en-CH" sz="1400">
                          <a:latin typeface="+mn-lt"/>
                        </a:rPr>
                        <a:t>Scenario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CH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latin typeface="+mn-lt"/>
                        </a:rPr>
                        <a:t>Performance improvement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H" sz="140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latin typeface="+mn-lt"/>
                        </a:rPr>
                        <a:t>Price per dose (public market price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H" sz="1200" b="1"/>
                    </a:p>
                  </a:txBody>
                  <a:tcPr anchor="ctr">
                    <a:lnL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H" sz="1200" b="1"/>
                    </a:p>
                  </a:txBody>
                  <a:tcPr anchor="ctr">
                    <a:lnL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H" sz="1200" b="1"/>
                    </a:p>
                  </a:txBody>
                  <a:tcPr anchor="ctr">
                    <a:lnL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CH" sz="1200" b="1"/>
                    </a:p>
                  </a:txBody>
                  <a:tcPr anchor="ctr">
                    <a:lnL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481190"/>
                  </a:ext>
                </a:extLst>
              </a:tr>
              <a:tr h="588592"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bg1"/>
                          </a:solidFill>
                          <a:latin typeface="+mn-lt"/>
                        </a:rPr>
                        <a:t>Efficacy (match /mismatch)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bg1"/>
                          </a:solidFill>
                          <a:latin typeface="+mn-lt"/>
                        </a:rPr>
                        <a:t>Du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bg1"/>
                          </a:solidFill>
                          <a:latin typeface="+mn-lt"/>
                        </a:rPr>
                        <a:t>U.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bg1"/>
                          </a:solidFill>
                          <a:latin typeface="+mn-lt"/>
                        </a:rPr>
                        <a:t>Other H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bg1"/>
                          </a:solidFill>
                          <a:latin typeface="+mn-lt"/>
                        </a:rPr>
                        <a:t>UMICs</a:t>
                      </a:r>
                      <a:endParaRPr lang="en-CH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bg1"/>
                          </a:solidFill>
                          <a:latin typeface="+mn-lt"/>
                        </a:rPr>
                        <a:t>Self-procuring LMICs</a:t>
                      </a:r>
                      <a:endParaRPr lang="en-CH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bg1"/>
                          </a:solidFill>
                          <a:latin typeface="+mn-lt"/>
                        </a:rPr>
                        <a:t>UN procuring LM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0305"/>
                  </a:ext>
                </a:extLst>
              </a:tr>
              <a:tr h="476479">
                <a:tc rowSpan="2">
                  <a:txBody>
                    <a:bodyPr/>
                    <a:lstStyle/>
                    <a:p>
                      <a:r>
                        <a:rPr lang="en-CH" sz="1200" b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H" sz="1400" b="1">
                          <a:solidFill>
                            <a:schemeClr val="tx1"/>
                          </a:solidFill>
                          <a:latin typeface="+mn-lt"/>
                        </a:rPr>
                        <a:t>Current seasonal vacci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70%/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6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$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$10.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$7.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$4.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544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H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$4.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868699"/>
                  </a:ext>
                </a:extLst>
              </a:tr>
              <a:tr h="476479">
                <a:tc v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L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H" sz="1400" b="1">
                          <a:solidFill>
                            <a:schemeClr val="tx1"/>
                          </a:solidFill>
                          <a:latin typeface="+mn-lt"/>
                        </a:rPr>
                        <a:t>Enhanced seasonal vacci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2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0-90% /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H" sz="12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-7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6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1">
                          <a:solidFill>
                            <a:schemeClr val="tx1"/>
                          </a:solidFill>
                          <a:latin typeface="+mn-lt"/>
                        </a:rPr>
                        <a:t>$7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0">
                          <a:solidFill>
                            <a:schemeClr val="tx1"/>
                          </a:solidFill>
                          <a:latin typeface="+mn-lt"/>
                        </a:rPr>
                        <a:t>$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0">
                          <a:solidFill>
                            <a:schemeClr val="tx1"/>
                          </a:solidFill>
                          <a:latin typeface="+mn-lt"/>
                        </a:rPr>
                        <a:t>$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 b="0">
                          <a:solidFill>
                            <a:schemeClr val="tx1"/>
                          </a:solidFill>
                          <a:latin typeface="+mn-lt"/>
                        </a:rPr>
                        <a:t>$5.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544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H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$4.50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145856"/>
                  </a:ext>
                </a:extLst>
              </a:tr>
              <a:tr h="476479">
                <a:tc>
                  <a:txBody>
                    <a:bodyPr/>
                    <a:lstStyle/>
                    <a:p>
                      <a:r>
                        <a:rPr lang="en-CH" sz="1200" b="0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H" sz="1400" b="1">
                          <a:solidFill>
                            <a:schemeClr val="tx1"/>
                          </a:solidFill>
                          <a:latin typeface="+mn-lt"/>
                        </a:rPr>
                        <a:t>Improved vaccines (minima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544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H" sz="12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70%/40%</a:t>
                      </a:r>
                      <a:endParaRPr kumimoji="0" lang="en-CH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1"/>
                          </a:solidFill>
                          <a:latin typeface="+mn-lt"/>
                        </a:rPr>
                        <a:t>1 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80 - 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5 - 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16 - 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.75 – 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4.50 - 5.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345030"/>
                  </a:ext>
                </a:extLst>
              </a:tr>
              <a:tr h="476479">
                <a:tc rowSpan="2">
                  <a:txBody>
                    <a:bodyPr/>
                    <a:lstStyle/>
                    <a:p>
                      <a:r>
                        <a:rPr lang="en-CH" sz="1200" b="0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endParaRPr lang="en-CH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H" sz="1400" b="1">
                          <a:solidFill>
                            <a:schemeClr val="tx1"/>
                          </a:solidFill>
                          <a:latin typeface="+mn-lt"/>
                        </a:rPr>
                        <a:t>Improved vaccines (efficacy, duration)</a:t>
                      </a:r>
                      <a:endParaRPr lang="en-CH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544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H" sz="12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90%/70%</a:t>
                      </a:r>
                      <a:endParaRPr kumimoji="0" lang="en-CH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1"/>
                          </a:solidFill>
                          <a:latin typeface="+mn-lt"/>
                        </a:rPr>
                        <a:t>2 years</a:t>
                      </a:r>
                      <a:endParaRPr lang="en-CH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150 - 220</a:t>
                      </a:r>
                      <a:endParaRPr lang="en-CH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40 - 60</a:t>
                      </a:r>
                      <a:endParaRPr lang="en-CH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 - 30</a:t>
                      </a:r>
                      <a:endParaRPr lang="en-CH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8.25 - 11</a:t>
                      </a:r>
                      <a:endParaRPr lang="en-CH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.50 - 6.50</a:t>
                      </a:r>
                      <a:endParaRPr lang="en-CH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649754"/>
                  </a:ext>
                </a:extLst>
              </a:tr>
              <a:tr h="476479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H" sz="1400" b="1">
                          <a:solidFill>
                            <a:schemeClr val="tx1"/>
                          </a:solidFill>
                          <a:latin typeface="+mn-lt"/>
                        </a:rPr>
                        <a:t>Improved vaccines (breadth, duratio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544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H" sz="12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70%/70%</a:t>
                      </a:r>
                      <a:endParaRPr kumimoji="0" lang="en-CH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1"/>
                          </a:solidFill>
                          <a:latin typeface="+mn-lt"/>
                        </a:rPr>
                        <a:t>3 yea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150 - 2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en-US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40 - 60</a:t>
                      </a:r>
                      <a:endParaRPr lang="en-CH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0 - 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en-US" sz="12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8.25 - 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.50 - 6.50</a:t>
                      </a:r>
                      <a:endParaRPr lang="en-CH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800966"/>
                  </a:ext>
                </a:extLst>
              </a:tr>
              <a:tr h="672676">
                <a:tc>
                  <a:txBody>
                    <a:bodyPr/>
                    <a:lstStyle/>
                    <a:p>
                      <a:r>
                        <a:rPr lang="en-CH" sz="1200" b="0">
                          <a:solidFill>
                            <a:schemeClr val="tx1"/>
                          </a:solidFill>
                          <a:latin typeface="+mn-lt"/>
                        </a:rPr>
                        <a:t>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H" sz="1400" b="1">
                          <a:solidFill>
                            <a:schemeClr val="tx1"/>
                          </a:solidFill>
                          <a:latin typeface="+mn-lt"/>
                        </a:rPr>
                        <a:t>Improved vaccines (efficacy, breadth, duration)</a:t>
                      </a:r>
                      <a:endParaRPr lang="en-CH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544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H" sz="12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90%/90%</a:t>
                      </a:r>
                      <a:endParaRPr kumimoji="0" lang="en-CH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H" sz="1200">
                          <a:solidFill>
                            <a:schemeClr val="tx1"/>
                          </a:solidFill>
                          <a:latin typeface="+mn-lt"/>
                        </a:rPr>
                        <a:t>5 yea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50 - 7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80 - 2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35 - 1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11 – 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H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6.75 - 7.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44314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FFD5BD5-4430-0BB4-4689-8CB05ADDE527}"/>
              </a:ext>
            </a:extLst>
          </p:cNvPr>
          <p:cNvSpPr txBox="1"/>
          <p:nvPr/>
        </p:nvSpPr>
        <p:spPr>
          <a:xfrm>
            <a:off x="0" y="6581001"/>
            <a:ext cx="26116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1200" dirty="0"/>
              <a:t>Note: Bolded values are actuals</a:t>
            </a:r>
          </a:p>
        </p:txBody>
      </p:sp>
    </p:spTree>
    <p:extLst>
      <p:ext uri="{BB962C8B-B14F-4D97-AF65-F5344CB8AC3E}">
        <p14:creationId xmlns:p14="http://schemas.microsoft.com/office/powerpoint/2010/main" val="902487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mmgh">
      <a:dk1>
        <a:srgbClr val="505050"/>
      </a:dk1>
      <a:lt1>
        <a:sysClr val="window" lastClr="FFFFFF"/>
      </a:lt1>
      <a:dk2>
        <a:srgbClr val="4B839A"/>
      </a:dk2>
      <a:lt2>
        <a:srgbClr val="CAD3DC"/>
      </a:lt2>
      <a:accent1>
        <a:srgbClr val="7FB6BA"/>
      </a:accent1>
      <a:accent2>
        <a:srgbClr val="D2D2D2"/>
      </a:accent2>
      <a:accent3>
        <a:srgbClr val="0078A9"/>
      </a:accent3>
      <a:accent4>
        <a:srgbClr val="A2D2E9"/>
      </a:accent4>
      <a:accent5>
        <a:srgbClr val="86786C"/>
      </a:accent5>
      <a:accent6>
        <a:srgbClr val="B4B1A0"/>
      </a:accent6>
      <a:hlink>
        <a:srgbClr val="4B839A"/>
      </a:hlink>
      <a:folHlink>
        <a:srgbClr val="4B839A"/>
      </a:folHlink>
    </a:clrScheme>
    <a:fontScheme name="MMgh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mgh_template_dark_graphics" id="{8F26F590-68CA-4A7D-8E8E-8474E747950A}" vid="{16B84B8F-253A-4B80-91AF-4B562B09D1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6C00F3638CAD4FA35CCBA89FD6A654" ma:contentTypeVersion="15" ma:contentTypeDescription="Create a new document." ma:contentTypeScope="" ma:versionID="f32678cc6bb07684ead4b1ff26f680e8">
  <xsd:schema xmlns:xsd="http://www.w3.org/2001/XMLSchema" xmlns:xs="http://www.w3.org/2001/XMLSchema" xmlns:p="http://schemas.microsoft.com/office/2006/metadata/properties" xmlns:ns2="28e1b2f9-2312-4123-a025-c409adf67d46" xmlns:ns3="ffa2ca1b-87c2-47ad-8ff8-5f4db361c07d" targetNamespace="http://schemas.microsoft.com/office/2006/metadata/properties" ma:root="true" ma:fieldsID="5a7eef978ffdeaa1f15a7ab751b4e3a9" ns2:_="" ns3:_="">
    <xsd:import namespace="28e1b2f9-2312-4123-a025-c409adf67d46"/>
    <xsd:import namespace="ffa2ca1b-87c2-47ad-8ff8-5f4db361c0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e1b2f9-2312-4123-a025-c409adf67d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87a3994-382d-444d-b490-9473c966173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2ca1b-87c2-47ad-8ff8-5f4db361c07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abd73a77-66cf-4339-bba9-b4bfc181d52b}" ma:internalName="TaxCatchAll" ma:showField="CatchAllData" ma:web="ffa2ca1b-87c2-47ad-8ff8-5f4db361c0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fa2ca1b-87c2-47ad-8ff8-5f4db361c07d">
      <UserInfo>
        <DisplayName>Giulio Borghi</DisplayName>
        <AccountId>104</AccountId>
        <AccountType/>
      </UserInfo>
      <UserInfo>
        <DisplayName>Adam Soble</DisplayName>
        <AccountId>12</AccountId>
        <AccountType/>
      </UserInfo>
    </SharedWithUsers>
    <lcf76f155ced4ddcb4097134ff3c332f xmlns="28e1b2f9-2312-4123-a025-c409adf67d46">
      <Terms xmlns="http://schemas.microsoft.com/office/infopath/2007/PartnerControls"/>
    </lcf76f155ced4ddcb4097134ff3c332f>
    <TaxCatchAll xmlns="ffa2ca1b-87c2-47ad-8ff8-5f4db361c07d" xsi:nil="true"/>
  </documentManagement>
</p:properties>
</file>

<file path=customXml/itemProps1.xml><?xml version="1.0" encoding="utf-8"?>
<ds:datastoreItem xmlns:ds="http://schemas.openxmlformats.org/officeDocument/2006/customXml" ds:itemID="{68AD1F9A-DED1-4F72-99CA-653ACA71FC1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532AE9-B981-467B-AE3B-597E988180DF}">
  <ds:schemaRefs>
    <ds:schemaRef ds:uri="28e1b2f9-2312-4123-a025-c409adf67d46"/>
    <ds:schemaRef ds:uri="ffa2ca1b-87c2-47ad-8ff8-5f4db361c07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BFFB18B-1B95-4163-8731-1BF2A544D9C6}">
  <ds:schemaRefs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28e1b2f9-2312-4123-a025-c409adf67d46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ffa2ca1b-87c2-47ad-8ff8-5f4db361c07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1</TotalTime>
  <Words>226</Words>
  <Application>Microsoft Macintosh PowerPoint</Application>
  <PresentationFormat>Widescreen</PresentationFormat>
  <Paragraphs>6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Poppins Medium</vt:lpstr>
      <vt:lpstr>Tahoma</vt:lpstr>
      <vt:lpstr>1_Office Theme</vt:lpstr>
      <vt:lpstr>think-cell Slide</vt:lpstr>
      <vt:lpstr>Price estimates for the different improved influenza vaccines based on the benchmarking analy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ulio Borghi</dc:creator>
  <cp:lastModifiedBy>Adam Soble</cp:lastModifiedBy>
  <cp:revision>4</cp:revision>
  <dcterms:created xsi:type="dcterms:W3CDTF">2024-05-01T09:36:55Z</dcterms:created>
  <dcterms:modified xsi:type="dcterms:W3CDTF">2024-10-08T13:4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6C00F3638CAD4FA35CCBA89FD6A654</vt:lpwstr>
  </property>
  <property fmtid="{D5CDD505-2E9C-101B-9397-08002B2CF9AE}" pid="3" name="MediaServiceImageTags">
    <vt:lpwstr/>
  </property>
</Properties>
</file>